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878" r:id="rId4"/>
    <p:sldMasterId id="2147484428" r:id="rId5"/>
    <p:sldMasterId id="2147484462" r:id="rId6"/>
    <p:sldMasterId id="2147484995" r:id="rId7"/>
    <p:sldMasterId id="2147485029" r:id="rId8"/>
    <p:sldMasterId id="2147485098" r:id="rId9"/>
  </p:sldMasterIdLst>
  <p:notesMasterIdLst>
    <p:notesMasterId r:id="rId14"/>
  </p:notesMasterIdLst>
  <p:sldIdLst>
    <p:sldId id="2145707163" r:id="rId10"/>
    <p:sldId id="2145707167" r:id="rId11"/>
    <p:sldId id="2145707168" r:id="rId12"/>
    <p:sldId id="2145707169" r:id="rId13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EYInterstate" panose="02000503020000020004" pitchFamily="2" charset="0"/>
      <p:regular r:id="rId19"/>
      <p:bold r:id="rId20"/>
      <p:italic r:id="rId21"/>
      <p:boldItalic r:id="rId22"/>
    </p:embeddedFont>
    <p:embeddedFont>
      <p:font typeface="EYInterstate Light" panose="02000506000000020004" pitchFamily="2" charset="0"/>
      <p:regular r:id="rId23"/>
      <p:bold r:id="rId24"/>
      <p:italic r:id="rId25"/>
      <p:boldItalic r:id="rId26"/>
    </p:embeddedFont>
    <p:embeddedFont>
      <p:font typeface="EYInterstate Regular" panose="02000503020000020004" pitchFamily="2" charset="0"/>
      <p:regular r:id="rId27"/>
    </p:embeddedFont>
    <p:embeddedFont>
      <p:font typeface="Georgia" panose="02040502050405020303" pitchFamily="18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Main" id="{54EE0A14-D831-47DC-9350-7618B35060D5}">
          <p14:sldIdLst>
            <p14:sldId id="2145707163"/>
            <p14:sldId id="2145707167"/>
            <p14:sldId id="2145707168"/>
            <p14:sldId id="214570716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40" userDrawn="1">
          <p15:clr>
            <a:srgbClr val="A4A3A4"/>
          </p15:clr>
        </p15:guide>
        <p15:guide id="2" pos="3379" userDrawn="1">
          <p15:clr>
            <a:srgbClr val="A4A3A4"/>
          </p15:clr>
        </p15:guide>
        <p15:guide id="3" pos="57">
          <p15:clr>
            <a:srgbClr val="9AA0A6"/>
          </p15:clr>
        </p15:guide>
        <p15:guide id="4" orient="horz" pos="241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doia Eroski" initials="" lastIdx="4" clrIdx="0"/>
  <p:cmAuthor id="1" name="Oscar Katime" initials="" lastIdx="1" clrIdx="1"/>
  <p:cmAuthor id="2" name="Sergio Goicoechea" initials="SG" lastIdx="1" clrIdx="2">
    <p:extLst>
      <p:ext uri="{19B8F6BF-5375-455C-9EA6-DF929625EA0E}">
        <p15:presenceInfo xmlns:p15="http://schemas.microsoft.com/office/powerpoint/2012/main" userId="S::Sergio.Goicoechea@es.ey.com::49160295-3dca-4438-82dc-b189178c9ac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504E"/>
    <a:srgbClr val="1C8280"/>
    <a:srgbClr val="156967"/>
    <a:srgbClr val="0C3C3B"/>
    <a:srgbClr val="26B8B5"/>
    <a:srgbClr val="404040"/>
    <a:srgbClr val="19716F"/>
    <a:srgbClr val="0A302F"/>
    <a:srgbClr val="797979"/>
    <a:srgbClr val="1C88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3909F5-FE08-4870-8738-CC816B3DB792}" v="9601" dt="2022-11-23T15:45:59.920"/>
  </p1510:revLst>
</p1510:revInfo>
</file>

<file path=ppt/tableStyles.xml><?xml version="1.0" encoding="utf-8"?>
<a:tblStyleLst xmlns:a="http://schemas.openxmlformats.org/drawingml/2006/main" def="{C39E4F09-4639-41C4-946F-0390AFDB8DCB}">
  <a:tblStyle styleId="{C39E4F09-4639-41C4-946F-0390AFDB8DCB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>
          <a:top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1H>
    <a:band2H>
      <a:tcTxStyle/>
      <a:tcStyle>
        <a:tcBdr/>
      </a:tcStyle>
    </a:band2H>
    <a:band1V>
      <a:tcTxStyle/>
      <a:tcStyle>
        <a:tcBdr>
          <a:lef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1V>
    <a:band2V>
      <a:tcTxStyle/>
      <a:tcStyle>
        <a:tcBdr>
          <a:lef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</a:tcBdr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dk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47E3402-4C96-4806-AB18-5E00C4F27442}" styleName="Table_1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8E8E8"/>
          </a:solidFill>
        </a:fill>
      </a:tcStyle>
    </a:wholeTbl>
    <a:band1H>
      <a:tcTxStyle/>
      <a:tcStyle>
        <a:tcBdr/>
        <a:fill>
          <a:solidFill>
            <a:srgbClr val="CDCDCD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DCDCD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21" autoAdjust="0"/>
    <p:restoredTop sz="93792" autoAdjust="0"/>
  </p:normalViewPr>
  <p:slideViewPr>
    <p:cSldViewPr snapToGrid="0">
      <p:cViewPr varScale="1">
        <p:scale>
          <a:sx n="90" d="100"/>
          <a:sy n="90" d="100"/>
        </p:scale>
        <p:origin x="728" y="28"/>
      </p:cViewPr>
      <p:guideLst>
        <p:guide orient="horz" pos="940"/>
        <p:guide pos="3379"/>
        <p:guide pos="57"/>
        <p:guide orient="horz" pos="2414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commentAuthors" Target="commentAuthors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font" Target="fonts/font10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ker Beguiristain Armendaritz" userId="2e916005-fdeb-489c-b2b0-a9a7c20d41d0" providerId="ADAL" clId="{890EFAFB-A238-4A37-9E11-7C38AC7E6396}"/>
    <pc:docChg chg="custSel addSld delSld modSld sldOrd delMainMaster">
      <pc:chgData name="Iker Beguiristain Armendaritz" userId="2e916005-fdeb-489c-b2b0-a9a7c20d41d0" providerId="ADAL" clId="{890EFAFB-A238-4A37-9E11-7C38AC7E6396}" dt="2022-02-04T13:11:54.912" v="770" actId="478"/>
      <pc:docMkLst>
        <pc:docMk/>
      </pc:docMkLst>
      <pc:sldChg chg="addSp delSp modSp del mod">
        <pc:chgData name="Iker Beguiristain Armendaritz" userId="2e916005-fdeb-489c-b2b0-a9a7c20d41d0" providerId="ADAL" clId="{890EFAFB-A238-4A37-9E11-7C38AC7E6396}" dt="2022-02-04T13:11:51.304" v="769" actId="47"/>
        <pc:sldMkLst>
          <pc:docMk/>
          <pc:sldMk cId="1963819802" sldId="2142532454"/>
        </pc:sldMkLst>
        <pc:spChg chg="mod">
          <ac:chgData name="Iker Beguiristain Armendaritz" userId="2e916005-fdeb-489c-b2b0-a9a7c20d41d0" providerId="ADAL" clId="{890EFAFB-A238-4A37-9E11-7C38AC7E6396}" dt="2022-02-04T13:10:07.921" v="719" actId="948"/>
          <ac:spMkLst>
            <pc:docMk/>
            <pc:sldMk cId="1963819802" sldId="2142532454"/>
            <ac:spMk id="2" creationId="{00000000-0000-0000-0000-000000000000}"/>
          </ac:spMkLst>
        </pc:spChg>
        <pc:spChg chg="add del mod modVis">
          <ac:chgData name="Iker Beguiristain Armendaritz" userId="2e916005-fdeb-489c-b2b0-a9a7c20d41d0" providerId="ADAL" clId="{890EFAFB-A238-4A37-9E11-7C38AC7E6396}" dt="2022-02-04T13:10:06.184" v="671"/>
          <ac:spMkLst>
            <pc:docMk/>
            <pc:sldMk cId="1963819802" sldId="2142532454"/>
            <ac:spMk id="4" creationId="{6FDFEF64-DEA2-4596-89B8-3EFF08F811D5}"/>
          </ac:spMkLst>
        </pc:spChg>
        <pc:spChg chg="add del mod modVis">
          <ac:chgData name="Iker Beguiristain Armendaritz" userId="2e916005-fdeb-489c-b2b0-a9a7c20d41d0" providerId="ADAL" clId="{890EFAFB-A238-4A37-9E11-7C38AC7E6396}" dt="2022-02-04T13:10:07.099" v="715"/>
          <ac:spMkLst>
            <pc:docMk/>
            <pc:sldMk cId="1963819802" sldId="2142532454"/>
            <ac:spMk id="8" creationId="{5EE7FE5D-0256-4338-977A-18D63C109FFB}"/>
          </ac:spMkLst>
        </pc:spChg>
        <pc:spChg chg="add del mod modVis">
          <ac:chgData name="Iker Beguiristain Armendaritz" userId="2e916005-fdeb-489c-b2b0-a9a7c20d41d0" providerId="ADAL" clId="{890EFAFB-A238-4A37-9E11-7C38AC7E6396}" dt="2022-02-04T13:10:07.990" v="758"/>
          <ac:spMkLst>
            <pc:docMk/>
            <pc:sldMk cId="1963819802" sldId="2142532454"/>
            <ac:spMk id="9" creationId="{6C353AC8-2AD9-42A9-B5A3-7DC270FEBBFE}"/>
          </ac:spMkLst>
        </pc:spChg>
        <pc:spChg chg="mod">
          <ac:chgData name="Iker Beguiristain Armendaritz" userId="2e916005-fdeb-489c-b2b0-a9a7c20d41d0" providerId="ADAL" clId="{890EFAFB-A238-4A37-9E11-7C38AC7E6396}" dt="2022-02-04T13:10:21.463" v="764" actId="20577"/>
          <ac:spMkLst>
            <pc:docMk/>
            <pc:sldMk cId="1963819802" sldId="2142532454"/>
            <ac:spMk id="91" creationId="{69B7A32D-B24A-4085-B813-96C125AF9B63}"/>
          </ac:spMkLst>
        </pc:spChg>
        <pc:spChg chg="mod">
          <ac:chgData name="Iker Beguiristain Armendaritz" userId="2e916005-fdeb-489c-b2b0-a9a7c20d41d0" providerId="ADAL" clId="{890EFAFB-A238-4A37-9E11-7C38AC7E6396}" dt="2022-02-04T13:10:56.501" v="765" actId="20577"/>
          <ac:spMkLst>
            <pc:docMk/>
            <pc:sldMk cId="1963819802" sldId="2142532454"/>
            <ac:spMk id="170" creationId="{14583AB8-160A-42E6-A066-D068E9FD8A21}"/>
          </ac:spMkLst>
        </pc:spChg>
        <pc:graphicFrameChg chg="mod">
          <ac:chgData name="Iker Beguiristain Armendaritz" userId="2e916005-fdeb-489c-b2b0-a9a7c20d41d0" providerId="ADAL" clId="{890EFAFB-A238-4A37-9E11-7C38AC7E6396}" dt="2022-02-04T13:10:07.992" v="760"/>
          <ac:graphicFrameMkLst>
            <pc:docMk/>
            <pc:sldMk cId="1963819802" sldId="2142532454"/>
            <ac:graphicFrameMk id="7" creationId="{110DEA13-BC01-4BD5-ADBE-22800C0F694F}"/>
          </ac:graphicFrameMkLst>
        </pc:graphicFrameChg>
      </pc:sldChg>
      <pc:sldChg chg="add">
        <pc:chgData name="Iker Beguiristain Armendaritz" userId="2e916005-fdeb-489c-b2b0-a9a7c20d41d0" providerId="ADAL" clId="{890EFAFB-A238-4A37-9E11-7C38AC7E6396}" dt="2022-02-04T12:51:29.213" v="628"/>
        <pc:sldMkLst>
          <pc:docMk/>
          <pc:sldMk cId="2654589919" sldId="2142532461"/>
        </pc:sldMkLst>
      </pc:sldChg>
      <pc:sldChg chg="add">
        <pc:chgData name="Iker Beguiristain Armendaritz" userId="2e916005-fdeb-489c-b2b0-a9a7c20d41d0" providerId="ADAL" clId="{890EFAFB-A238-4A37-9E11-7C38AC7E6396}" dt="2022-02-04T12:51:29.213" v="628"/>
        <pc:sldMkLst>
          <pc:docMk/>
          <pc:sldMk cId="945067092" sldId="2142532465"/>
        </pc:sldMkLst>
      </pc:sldChg>
      <pc:sldChg chg="ord">
        <pc:chgData name="Iker Beguiristain Armendaritz" userId="2e916005-fdeb-489c-b2b0-a9a7c20d41d0" providerId="ADAL" clId="{890EFAFB-A238-4A37-9E11-7C38AC7E6396}" dt="2022-02-04T12:47:25.112" v="612"/>
        <pc:sldMkLst>
          <pc:docMk/>
          <pc:sldMk cId="1713282002" sldId="2142532476"/>
        </pc:sldMkLst>
      </pc:sldChg>
      <pc:sldChg chg="modSp mod">
        <pc:chgData name="Iker Beguiristain Armendaritz" userId="2e916005-fdeb-489c-b2b0-a9a7c20d41d0" providerId="ADAL" clId="{890EFAFB-A238-4A37-9E11-7C38AC7E6396}" dt="2022-02-04T12:49:52.040" v="627" actId="6549"/>
        <pc:sldMkLst>
          <pc:docMk/>
          <pc:sldMk cId="2996423410" sldId="2145707131"/>
        </pc:sldMkLst>
        <pc:spChg chg="mod">
          <ac:chgData name="Iker Beguiristain Armendaritz" userId="2e916005-fdeb-489c-b2b0-a9a7c20d41d0" providerId="ADAL" clId="{890EFAFB-A238-4A37-9E11-7C38AC7E6396}" dt="2022-02-04T12:49:52.040" v="627" actId="6549"/>
          <ac:spMkLst>
            <pc:docMk/>
            <pc:sldMk cId="2996423410" sldId="2145707131"/>
            <ac:spMk id="331" creationId="{272CA2E5-C285-4B0E-8DA0-9523B1B38891}"/>
          </ac:spMkLst>
        </pc:spChg>
      </pc:sldChg>
      <pc:sldChg chg="add">
        <pc:chgData name="Iker Beguiristain Armendaritz" userId="2e916005-fdeb-489c-b2b0-a9a7c20d41d0" providerId="ADAL" clId="{890EFAFB-A238-4A37-9E11-7C38AC7E6396}" dt="2022-02-04T12:51:29.213" v="628"/>
        <pc:sldMkLst>
          <pc:docMk/>
          <pc:sldMk cId="3434323161" sldId="2145707141"/>
        </pc:sldMkLst>
      </pc:sldChg>
      <pc:sldChg chg="modSp mod">
        <pc:chgData name="Iker Beguiristain Armendaritz" userId="2e916005-fdeb-489c-b2b0-a9a7c20d41d0" providerId="ADAL" clId="{890EFAFB-A238-4A37-9E11-7C38AC7E6396}" dt="2022-02-04T12:44:59.624" v="610" actId="20577"/>
        <pc:sldMkLst>
          <pc:docMk/>
          <pc:sldMk cId="30000760" sldId="2145707163"/>
        </pc:sldMkLst>
        <pc:spChg chg="mod">
          <ac:chgData name="Iker Beguiristain Armendaritz" userId="2e916005-fdeb-489c-b2b0-a9a7c20d41d0" providerId="ADAL" clId="{890EFAFB-A238-4A37-9E11-7C38AC7E6396}" dt="2022-02-04T12:44:59.624" v="610" actId="20577"/>
          <ac:spMkLst>
            <pc:docMk/>
            <pc:sldMk cId="30000760" sldId="2145707163"/>
            <ac:spMk id="13" creationId="{81057B5C-F748-4693-853B-63D4EB2A0A01}"/>
          </ac:spMkLst>
        </pc:spChg>
      </pc:sldChg>
      <pc:sldChg chg="addSp modSp ord">
        <pc:chgData name="Iker Beguiristain Armendaritz" userId="2e916005-fdeb-489c-b2b0-a9a7c20d41d0" providerId="ADAL" clId="{890EFAFB-A238-4A37-9E11-7C38AC7E6396}" dt="2022-02-04T12:54:07.777" v="629"/>
        <pc:sldMkLst>
          <pc:docMk/>
          <pc:sldMk cId="1842572674" sldId="2145707164"/>
        </pc:sldMkLst>
        <pc:spChg chg="add mod">
          <ac:chgData name="Iker Beguiristain Armendaritz" userId="2e916005-fdeb-489c-b2b0-a9a7c20d41d0" providerId="ADAL" clId="{890EFAFB-A238-4A37-9E11-7C38AC7E6396}" dt="2022-02-04T12:54:07.777" v="629"/>
          <ac:spMkLst>
            <pc:docMk/>
            <pc:sldMk cId="1842572674" sldId="2145707164"/>
            <ac:spMk id="13" creationId="{AC0469F8-9234-4BCB-918E-BCAA16BD2690}"/>
          </ac:spMkLst>
        </pc:spChg>
      </pc:sldChg>
      <pc:sldChg chg="add">
        <pc:chgData name="Iker Beguiristain Armendaritz" userId="2e916005-fdeb-489c-b2b0-a9a7c20d41d0" providerId="ADAL" clId="{890EFAFB-A238-4A37-9E11-7C38AC7E6396}" dt="2022-02-04T12:51:29.213" v="628"/>
        <pc:sldMkLst>
          <pc:docMk/>
          <pc:sldMk cId="936681497" sldId="2145707165"/>
        </pc:sldMkLst>
      </pc:sldChg>
      <pc:sldChg chg="delSp add del mod">
        <pc:chgData name="Iker Beguiristain Armendaritz" userId="2e916005-fdeb-489c-b2b0-a9a7c20d41d0" providerId="ADAL" clId="{890EFAFB-A238-4A37-9E11-7C38AC7E6396}" dt="2022-02-04T13:11:54.912" v="770" actId="478"/>
        <pc:sldMkLst>
          <pc:docMk/>
          <pc:sldMk cId="360838478" sldId="2145707166"/>
        </pc:sldMkLst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19" creationId="{4B3DFA83-2BD9-4820-B617-0B8E816B027C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20" creationId="{4406B933-3711-4096-A21D-A586C43C6B22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21" creationId="{556840FC-D9D1-45BA-81D1-39DCACA3D008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22" creationId="{4C08A053-DF61-40A2-900A-819A44598F0C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23" creationId="{B54CEFC0-6A81-496D-9858-98D748C3DF0F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24" creationId="{98AB230C-D9AD-435B-92BD-AB974056C419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25" creationId="{C872FD31-9F4C-490C-8DAA-2D9EF6DF4444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26" creationId="{06DF6314-1879-4418-B34F-0C7D54B2A841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88" creationId="{999DF3AB-C5F7-4410-AF44-40B6D49B4CEB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89" creationId="{CDBAA5FF-5325-4907-8CAF-08DF0D782FE1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90" creationId="{7792F3D2-8646-465C-8F07-38A2904B01FD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91" creationId="{106AAB22-0E60-40F9-B405-71D6B18813FB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95" creationId="{49E5A16F-291B-4BC3-882E-F95A1BF6140D}"/>
          </ac:spMkLst>
        </pc:spChg>
        <pc:spChg chg="del">
          <ac:chgData name="Iker Beguiristain Armendaritz" userId="2e916005-fdeb-489c-b2b0-a9a7c20d41d0" providerId="ADAL" clId="{890EFAFB-A238-4A37-9E11-7C38AC7E6396}" dt="2022-02-04T13:11:54.912" v="770" actId="478"/>
          <ac:spMkLst>
            <pc:docMk/>
            <pc:sldMk cId="360838478" sldId="2145707166"/>
            <ac:spMk id="496" creationId="{3F3F0A22-7875-438E-A905-5B77DDC33AAC}"/>
          </ac:spMkLst>
        </pc:spChg>
        <pc:grpChg chg="del">
          <ac:chgData name="Iker Beguiristain Armendaritz" userId="2e916005-fdeb-489c-b2b0-a9a7c20d41d0" providerId="ADAL" clId="{890EFAFB-A238-4A37-9E11-7C38AC7E6396}" dt="2022-02-04T13:11:54.912" v="770" actId="478"/>
          <ac:grpSpMkLst>
            <pc:docMk/>
            <pc:sldMk cId="360838478" sldId="2145707166"/>
            <ac:grpSpMk id="414" creationId="{F6E1B741-088E-4F51-B523-70A69E068B85}"/>
          </ac:grpSpMkLst>
        </pc:grpChg>
        <pc:grpChg chg="del">
          <ac:chgData name="Iker Beguiristain Armendaritz" userId="2e916005-fdeb-489c-b2b0-a9a7c20d41d0" providerId="ADAL" clId="{890EFAFB-A238-4A37-9E11-7C38AC7E6396}" dt="2022-02-04T13:11:54.912" v="770" actId="478"/>
          <ac:grpSpMkLst>
            <pc:docMk/>
            <pc:sldMk cId="360838478" sldId="2145707166"/>
            <ac:grpSpMk id="492" creationId="{9D893A1E-06A8-4EC8-A5E8-60BB84E4B0CF}"/>
          </ac:grpSpMkLst>
        </pc:grpChg>
      </pc:sldChg>
      <pc:sldMasterChg chg="del delSldLayout">
        <pc:chgData name="Iker Beguiristain Armendaritz" userId="2e916005-fdeb-489c-b2b0-a9a7c20d41d0" providerId="ADAL" clId="{890EFAFB-A238-4A37-9E11-7C38AC7E6396}" dt="2022-02-04T12:44:49.552" v="149" actId="2696"/>
        <pc:sldMasterMkLst>
          <pc:docMk/>
          <pc:sldMasterMk cId="1196841041" sldId="2147483648"/>
        </pc:sldMasterMkLst>
        <pc:sldLayoutChg chg="del">
          <pc:chgData name="Iker Beguiristain Armendaritz" userId="2e916005-fdeb-489c-b2b0-a9a7c20d41d0" providerId="ADAL" clId="{890EFAFB-A238-4A37-9E11-7C38AC7E6396}" dt="2022-02-04T12:44:49.516" v="138" actId="2696"/>
          <pc:sldLayoutMkLst>
            <pc:docMk/>
            <pc:sldMasterMk cId="1196841041" sldId="2147483648"/>
            <pc:sldLayoutMk cId="1068760059" sldId="214748364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17" v="139" actId="2696"/>
          <pc:sldLayoutMkLst>
            <pc:docMk/>
            <pc:sldMasterMk cId="1196841041" sldId="2147483648"/>
            <pc:sldLayoutMk cId="1267502579" sldId="214748365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19" v="140" actId="2696"/>
          <pc:sldLayoutMkLst>
            <pc:docMk/>
            <pc:sldMasterMk cId="1196841041" sldId="2147483648"/>
            <pc:sldLayoutMk cId="1784309850" sldId="214748365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21" v="141" actId="2696"/>
          <pc:sldLayoutMkLst>
            <pc:docMk/>
            <pc:sldMasterMk cId="1196841041" sldId="2147483648"/>
            <pc:sldLayoutMk cId="2727554046" sldId="214748365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22" v="142" actId="2696"/>
          <pc:sldLayoutMkLst>
            <pc:docMk/>
            <pc:sldMasterMk cId="1196841041" sldId="2147483648"/>
            <pc:sldLayoutMk cId="3281239267" sldId="214748365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24" v="143" actId="2696"/>
          <pc:sldLayoutMkLst>
            <pc:docMk/>
            <pc:sldMasterMk cId="1196841041" sldId="2147483648"/>
            <pc:sldLayoutMk cId="2772570456" sldId="214748365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25" v="144" actId="2696"/>
          <pc:sldLayoutMkLst>
            <pc:docMk/>
            <pc:sldMasterMk cId="1196841041" sldId="2147483648"/>
            <pc:sldLayoutMk cId="128179143" sldId="214748365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27" v="145" actId="2696"/>
          <pc:sldLayoutMkLst>
            <pc:docMk/>
            <pc:sldMasterMk cId="1196841041" sldId="2147483648"/>
            <pc:sldLayoutMk cId="23204366" sldId="214748365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29" v="146" actId="2696"/>
          <pc:sldLayoutMkLst>
            <pc:docMk/>
            <pc:sldMasterMk cId="1196841041" sldId="2147483648"/>
            <pc:sldLayoutMk cId="163759192" sldId="214748365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31" v="147" actId="2696"/>
          <pc:sldLayoutMkLst>
            <pc:docMk/>
            <pc:sldMasterMk cId="1196841041" sldId="2147483648"/>
            <pc:sldLayoutMk cId="3082971425" sldId="214748365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33" v="148" actId="2696"/>
          <pc:sldLayoutMkLst>
            <pc:docMk/>
            <pc:sldMasterMk cId="1196841041" sldId="2147483648"/>
            <pc:sldLayoutMk cId="1334572968" sldId="2147483659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1.623" v="496" actId="2696"/>
        <pc:sldMasterMkLst>
          <pc:docMk/>
          <pc:sldMasterMk cId="3186112380" sldId="2147484151"/>
        </pc:sldMasterMkLst>
        <pc:sldLayoutChg chg="del">
          <pc:chgData name="Iker Beguiristain Armendaritz" userId="2e916005-fdeb-489c-b2b0-a9a7c20d41d0" providerId="ADAL" clId="{890EFAFB-A238-4A37-9E11-7C38AC7E6396}" dt="2022-02-04T12:44:51.490" v="467" actId="2696"/>
          <pc:sldLayoutMkLst>
            <pc:docMk/>
            <pc:sldMasterMk cId="3186112380" sldId="2147484151"/>
            <pc:sldLayoutMk cId="3591935765" sldId="214748415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92" v="468" actId="2696"/>
          <pc:sldLayoutMkLst>
            <pc:docMk/>
            <pc:sldMasterMk cId="3186112380" sldId="2147484151"/>
            <pc:sldLayoutMk cId="351974716" sldId="214748415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93" v="469" actId="2696"/>
          <pc:sldLayoutMkLst>
            <pc:docMk/>
            <pc:sldMasterMk cId="3186112380" sldId="2147484151"/>
            <pc:sldLayoutMk cId="3894619473" sldId="214748415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95" v="470" actId="2696"/>
          <pc:sldLayoutMkLst>
            <pc:docMk/>
            <pc:sldMasterMk cId="3186112380" sldId="2147484151"/>
            <pc:sldLayoutMk cId="1319899645" sldId="214748415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98" v="471" actId="2696"/>
          <pc:sldLayoutMkLst>
            <pc:docMk/>
            <pc:sldMasterMk cId="3186112380" sldId="2147484151"/>
            <pc:sldLayoutMk cId="2279284735" sldId="214748415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00" v="472" actId="2696"/>
          <pc:sldLayoutMkLst>
            <pc:docMk/>
            <pc:sldMasterMk cId="3186112380" sldId="2147484151"/>
            <pc:sldLayoutMk cId="3610071840" sldId="214748415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03" v="473" actId="2696"/>
          <pc:sldLayoutMkLst>
            <pc:docMk/>
            <pc:sldMasterMk cId="3186112380" sldId="2147484151"/>
            <pc:sldLayoutMk cId="1136681948" sldId="214748415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07" v="474" actId="2696"/>
          <pc:sldLayoutMkLst>
            <pc:docMk/>
            <pc:sldMasterMk cId="3186112380" sldId="2147484151"/>
            <pc:sldLayoutMk cId="328515135" sldId="214748415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17" v="475" actId="2696"/>
          <pc:sldLayoutMkLst>
            <pc:docMk/>
            <pc:sldMasterMk cId="3186112380" sldId="2147484151"/>
            <pc:sldLayoutMk cId="583340204" sldId="214748416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44" v="476" actId="2696"/>
          <pc:sldLayoutMkLst>
            <pc:docMk/>
            <pc:sldMasterMk cId="3186112380" sldId="2147484151"/>
            <pc:sldLayoutMk cId="2152999690" sldId="214748416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66" v="477" actId="2696"/>
          <pc:sldLayoutMkLst>
            <pc:docMk/>
            <pc:sldMasterMk cId="3186112380" sldId="2147484151"/>
            <pc:sldLayoutMk cId="257887959" sldId="214748416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69" v="478" actId="2696"/>
          <pc:sldLayoutMkLst>
            <pc:docMk/>
            <pc:sldMasterMk cId="3186112380" sldId="2147484151"/>
            <pc:sldLayoutMk cId="2935181412" sldId="214748416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71" v="479" actId="2696"/>
          <pc:sldLayoutMkLst>
            <pc:docMk/>
            <pc:sldMasterMk cId="3186112380" sldId="2147484151"/>
            <pc:sldLayoutMk cId="1602097097" sldId="214748416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73" v="480" actId="2696"/>
          <pc:sldLayoutMkLst>
            <pc:docMk/>
            <pc:sldMasterMk cId="3186112380" sldId="2147484151"/>
            <pc:sldLayoutMk cId="775623467" sldId="214748416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75" v="481" actId="2696"/>
          <pc:sldLayoutMkLst>
            <pc:docMk/>
            <pc:sldMasterMk cId="3186112380" sldId="2147484151"/>
            <pc:sldLayoutMk cId="3183344746" sldId="214748416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77" v="482" actId="2696"/>
          <pc:sldLayoutMkLst>
            <pc:docMk/>
            <pc:sldMasterMk cId="3186112380" sldId="2147484151"/>
            <pc:sldLayoutMk cId="3875790127" sldId="214748416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79" v="483" actId="2696"/>
          <pc:sldLayoutMkLst>
            <pc:docMk/>
            <pc:sldMasterMk cId="3186112380" sldId="2147484151"/>
            <pc:sldLayoutMk cId="4182296381" sldId="214748416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80" v="484" actId="2696"/>
          <pc:sldLayoutMkLst>
            <pc:docMk/>
            <pc:sldMasterMk cId="3186112380" sldId="2147484151"/>
            <pc:sldLayoutMk cId="96878072" sldId="214748416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82" v="485" actId="2696"/>
          <pc:sldLayoutMkLst>
            <pc:docMk/>
            <pc:sldMasterMk cId="3186112380" sldId="2147484151"/>
            <pc:sldLayoutMk cId="2822671032" sldId="214748417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84" v="486" actId="2696"/>
          <pc:sldLayoutMkLst>
            <pc:docMk/>
            <pc:sldMasterMk cId="3186112380" sldId="2147484151"/>
            <pc:sldLayoutMk cId="2670711998" sldId="214748417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85" v="487" actId="2696"/>
          <pc:sldLayoutMkLst>
            <pc:docMk/>
            <pc:sldMasterMk cId="3186112380" sldId="2147484151"/>
            <pc:sldLayoutMk cId="659667092" sldId="214748417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87" v="488" actId="2696"/>
          <pc:sldLayoutMkLst>
            <pc:docMk/>
            <pc:sldMasterMk cId="3186112380" sldId="2147484151"/>
            <pc:sldLayoutMk cId="3756206949" sldId="214748417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89" v="489" actId="2696"/>
          <pc:sldLayoutMkLst>
            <pc:docMk/>
            <pc:sldMasterMk cId="3186112380" sldId="2147484151"/>
            <pc:sldLayoutMk cId="385575782" sldId="214748417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91" v="490" actId="2696"/>
          <pc:sldLayoutMkLst>
            <pc:docMk/>
            <pc:sldMasterMk cId="3186112380" sldId="2147484151"/>
            <pc:sldLayoutMk cId="603478123" sldId="214748417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94" v="491" actId="2696"/>
          <pc:sldLayoutMkLst>
            <pc:docMk/>
            <pc:sldMasterMk cId="3186112380" sldId="2147484151"/>
            <pc:sldLayoutMk cId="251962224" sldId="214748417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95" v="492" actId="2696"/>
          <pc:sldLayoutMkLst>
            <pc:docMk/>
            <pc:sldMasterMk cId="3186112380" sldId="2147484151"/>
            <pc:sldLayoutMk cId="2065670783" sldId="214748417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598" v="493" actId="2696"/>
          <pc:sldLayoutMkLst>
            <pc:docMk/>
            <pc:sldMasterMk cId="3186112380" sldId="2147484151"/>
            <pc:sldLayoutMk cId="1187877247" sldId="214748417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01" v="494" actId="2696"/>
          <pc:sldLayoutMkLst>
            <pc:docMk/>
            <pc:sldMasterMk cId="3186112380" sldId="2147484151"/>
            <pc:sldLayoutMk cId="3387839432" sldId="214748417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02" v="495" actId="2696"/>
          <pc:sldLayoutMkLst>
            <pc:docMk/>
            <pc:sldMasterMk cId="3186112380" sldId="2147484151"/>
            <pc:sldLayoutMk cId="184041344" sldId="2147484180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0.842" v="353" actId="2696"/>
        <pc:sldMasterMkLst>
          <pc:docMk/>
          <pc:sldMasterMk cId="320056700" sldId="2147484182"/>
        </pc:sldMasterMkLst>
        <pc:sldLayoutChg chg="del">
          <pc:chgData name="Iker Beguiristain Armendaritz" userId="2e916005-fdeb-489c-b2b0-a9a7c20d41d0" providerId="ADAL" clId="{890EFAFB-A238-4A37-9E11-7C38AC7E6396}" dt="2022-02-04T12:44:50.648" v="320" actId="2696"/>
          <pc:sldLayoutMkLst>
            <pc:docMk/>
            <pc:sldMasterMk cId="320056700" sldId="2147484182"/>
            <pc:sldLayoutMk cId="3189363247" sldId="214748418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655" v="321" actId="2696"/>
          <pc:sldLayoutMkLst>
            <pc:docMk/>
            <pc:sldMasterMk cId="320056700" sldId="2147484182"/>
            <pc:sldLayoutMk cId="4178156615" sldId="214748418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680" v="322" actId="2696"/>
          <pc:sldLayoutMkLst>
            <pc:docMk/>
            <pc:sldMasterMk cId="320056700" sldId="2147484182"/>
            <pc:sldLayoutMk cId="1745963127" sldId="214748418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05" v="323" actId="2696"/>
          <pc:sldLayoutMkLst>
            <pc:docMk/>
            <pc:sldMasterMk cId="320056700" sldId="2147484182"/>
            <pc:sldLayoutMk cId="292438704" sldId="214748418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09" v="324" actId="2696"/>
          <pc:sldLayoutMkLst>
            <pc:docMk/>
            <pc:sldMasterMk cId="320056700" sldId="2147484182"/>
            <pc:sldLayoutMk cId="2864486230" sldId="214748418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12" v="325" actId="2696"/>
          <pc:sldLayoutMkLst>
            <pc:docMk/>
            <pc:sldMasterMk cId="320056700" sldId="2147484182"/>
            <pc:sldLayoutMk cId="2473554393" sldId="214748418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15" v="326" actId="2696"/>
          <pc:sldLayoutMkLst>
            <pc:docMk/>
            <pc:sldMasterMk cId="320056700" sldId="2147484182"/>
            <pc:sldLayoutMk cId="4111751873" sldId="214748418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19" v="327" actId="2696"/>
          <pc:sldLayoutMkLst>
            <pc:docMk/>
            <pc:sldMasterMk cId="320056700" sldId="2147484182"/>
            <pc:sldLayoutMk cId="3134894889" sldId="214748419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22" v="328" actId="2696"/>
          <pc:sldLayoutMkLst>
            <pc:docMk/>
            <pc:sldMasterMk cId="320056700" sldId="2147484182"/>
            <pc:sldLayoutMk cId="1380925004" sldId="214748419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26" v="329" actId="2696"/>
          <pc:sldLayoutMkLst>
            <pc:docMk/>
            <pc:sldMasterMk cId="320056700" sldId="2147484182"/>
            <pc:sldLayoutMk cId="2233405399" sldId="214748419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29" v="330" actId="2696"/>
          <pc:sldLayoutMkLst>
            <pc:docMk/>
            <pc:sldMasterMk cId="320056700" sldId="2147484182"/>
            <pc:sldLayoutMk cId="3841450607" sldId="214748419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32" v="331" actId="2696"/>
          <pc:sldLayoutMkLst>
            <pc:docMk/>
            <pc:sldMasterMk cId="320056700" sldId="2147484182"/>
            <pc:sldLayoutMk cId="4046117836" sldId="214748419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36" v="332" actId="2696"/>
          <pc:sldLayoutMkLst>
            <pc:docMk/>
            <pc:sldMasterMk cId="320056700" sldId="2147484182"/>
            <pc:sldLayoutMk cId="3609018277" sldId="214748419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39" v="333" actId="2696"/>
          <pc:sldLayoutMkLst>
            <pc:docMk/>
            <pc:sldMasterMk cId="320056700" sldId="2147484182"/>
            <pc:sldLayoutMk cId="2084811255" sldId="214748419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44" v="334" actId="2696"/>
          <pc:sldLayoutMkLst>
            <pc:docMk/>
            <pc:sldMasterMk cId="320056700" sldId="2147484182"/>
            <pc:sldLayoutMk cId="1182964159" sldId="214748419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47" v="335" actId="2696"/>
          <pc:sldLayoutMkLst>
            <pc:docMk/>
            <pc:sldMasterMk cId="320056700" sldId="2147484182"/>
            <pc:sldLayoutMk cId="1666563528" sldId="214748419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50" v="336" actId="2696"/>
          <pc:sldLayoutMkLst>
            <pc:docMk/>
            <pc:sldMasterMk cId="320056700" sldId="2147484182"/>
            <pc:sldLayoutMk cId="1258062654" sldId="214748419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54" v="337" actId="2696"/>
          <pc:sldLayoutMkLst>
            <pc:docMk/>
            <pc:sldMasterMk cId="320056700" sldId="2147484182"/>
            <pc:sldLayoutMk cId="2000568744" sldId="214748420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58" v="338" actId="2696"/>
          <pc:sldLayoutMkLst>
            <pc:docMk/>
            <pc:sldMasterMk cId="320056700" sldId="2147484182"/>
            <pc:sldLayoutMk cId="3845806530" sldId="214748420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61" v="339" actId="2696"/>
          <pc:sldLayoutMkLst>
            <pc:docMk/>
            <pc:sldMasterMk cId="320056700" sldId="2147484182"/>
            <pc:sldLayoutMk cId="720449837" sldId="214748420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64" v="340" actId="2696"/>
          <pc:sldLayoutMkLst>
            <pc:docMk/>
            <pc:sldMasterMk cId="320056700" sldId="2147484182"/>
            <pc:sldLayoutMk cId="3062980181" sldId="214748420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67" v="341" actId="2696"/>
          <pc:sldLayoutMkLst>
            <pc:docMk/>
            <pc:sldMasterMk cId="320056700" sldId="2147484182"/>
            <pc:sldLayoutMk cId="3656825555" sldId="214748420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70" v="342" actId="2696"/>
          <pc:sldLayoutMkLst>
            <pc:docMk/>
            <pc:sldMasterMk cId="320056700" sldId="2147484182"/>
            <pc:sldLayoutMk cId="2744561613" sldId="214748420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73" v="343" actId="2696"/>
          <pc:sldLayoutMkLst>
            <pc:docMk/>
            <pc:sldMasterMk cId="320056700" sldId="2147484182"/>
            <pc:sldLayoutMk cId="291808376" sldId="214748420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75" v="344" actId="2696"/>
          <pc:sldLayoutMkLst>
            <pc:docMk/>
            <pc:sldMasterMk cId="320056700" sldId="2147484182"/>
            <pc:sldLayoutMk cId="2379984285" sldId="214748420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77" v="345" actId="2696"/>
          <pc:sldLayoutMkLst>
            <pc:docMk/>
            <pc:sldMasterMk cId="320056700" sldId="2147484182"/>
            <pc:sldLayoutMk cId="2595417627" sldId="214748420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79" v="346" actId="2696"/>
          <pc:sldLayoutMkLst>
            <pc:docMk/>
            <pc:sldMasterMk cId="320056700" sldId="2147484182"/>
            <pc:sldLayoutMk cId="3611984967" sldId="214748420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82" v="347" actId="2696"/>
          <pc:sldLayoutMkLst>
            <pc:docMk/>
            <pc:sldMasterMk cId="320056700" sldId="2147484182"/>
            <pc:sldLayoutMk cId="3762474886" sldId="214748421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85" v="348" actId="2696"/>
          <pc:sldLayoutMkLst>
            <pc:docMk/>
            <pc:sldMasterMk cId="320056700" sldId="2147484182"/>
            <pc:sldLayoutMk cId="393400418" sldId="214748421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788" v="349" actId="2696"/>
          <pc:sldLayoutMkLst>
            <pc:docMk/>
            <pc:sldMasterMk cId="320056700" sldId="2147484182"/>
            <pc:sldLayoutMk cId="938724724" sldId="214748421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800" v="350" actId="2696"/>
          <pc:sldLayoutMkLst>
            <pc:docMk/>
            <pc:sldMasterMk cId="320056700" sldId="2147484182"/>
            <pc:sldLayoutMk cId="3118014389" sldId="214748421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804" v="351" actId="2696"/>
          <pc:sldLayoutMkLst>
            <pc:docMk/>
            <pc:sldMasterMk cId="320056700" sldId="2147484182"/>
            <pc:sldLayoutMk cId="1058537721" sldId="214748421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807" v="352" actId="2696"/>
          <pc:sldLayoutMkLst>
            <pc:docMk/>
            <pc:sldMasterMk cId="320056700" sldId="2147484182"/>
            <pc:sldLayoutMk cId="1658235679" sldId="2147484215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0.411" v="282" actId="2696"/>
        <pc:sldMasterMkLst>
          <pc:docMk/>
          <pc:sldMasterMk cId="733524331" sldId="2147484216"/>
        </pc:sldMasterMkLst>
        <pc:sldLayoutChg chg="del">
          <pc:chgData name="Iker Beguiristain Armendaritz" userId="2e916005-fdeb-489c-b2b0-a9a7c20d41d0" providerId="ADAL" clId="{890EFAFB-A238-4A37-9E11-7C38AC7E6396}" dt="2022-02-04T12:44:50.185" v="252" actId="2696"/>
          <pc:sldLayoutMkLst>
            <pc:docMk/>
            <pc:sldMasterMk cId="733524331" sldId="2147484216"/>
            <pc:sldLayoutMk cId="2608949702" sldId="214748421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88" v="253" actId="2696"/>
          <pc:sldLayoutMkLst>
            <pc:docMk/>
            <pc:sldMasterMk cId="733524331" sldId="2147484216"/>
            <pc:sldLayoutMk cId="1891916622" sldId="214748421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94" v="254" actId="2696"/>
          <pc:sldLayoutMkLst>
            <pc:docMk/>
            <pc:sldMasterMk cId="733524331" sldId="2147484216"/>
            <pc:sldLayoutMk cId="3639340558" sldId="214748421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98" v="255" actId="2696"/>
          <pc:sldLayoutMkLst>
            <pc:docMk/>
            <pc:sldMasterMk cId="733524331" sldId="2147484216"/>
            <pc:sldLayoutMk cId="3961234339" sldId="214748422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201" v="256" actId="2696"/>
          <pc:sldLayoutMkLst>
            <pc:docMk/>
            <pc:sldMasterMk cId="733524331" sldId="2147484216"/>
            <pc:sldLayoutMk cId="2592184003" sldId="214748422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205" v="257" actId="2696"/>
          <pc:sldLayoutMkLst>
            <pc:docMk/>
            <pc:sldMasterMk cId="733524331" sldId="2147484216"/>
            <pc:sldLayoutMk cId="1608839566" sldId="214748422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209" v="258" actId="2696"/>
          <pc:sldLayoutMkLst>
            <pc:docMk/>
            <pc:sldMasterMk cId="733524331" sldId="2147484216"/>
            <pc:sldLayoutMk cId="782163516" sldId="214748422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212" v="259" actId="2696"/>
          <pc:sldLayoutMkLst>
            <pc:docMk/>
            <pc:sldMasterMk cId="733524331" sldId="2147484216"/>
            <pc:sldLayoutMk cId="4088673635" sldId="214748422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225" v="260" actId="2696"/>
          <pc:sldLayoutMkLst>
            <pc:docMk/>
            <pc:sldMasterMk cId="733524331" sldId="2147484216"/>
            <pc:sldLayoutMk cId="1713131076" sldId="214748422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266" v="261" actId="2696"/>
          <pc:sldLayoutMkLst>
            <pc:docMk/>
            <pc:sldMasterMk cId="733524331" sldId="2147484216"/>
            <pc:sldLayoutMk cId="3527948821" sldId="214748422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04" v="262" actId="2696"/>
          <pc:sldLayoutMkLst>
            <pc:docMk/>
            <pc:sldMasterMk cId="733524331" sldId="2147484216"/>
            <pc:sldLayoutMk cId="448225466" sldId="214748422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09" v="263" actId="2696"/>
          <pc:sldLayoutMkLst>
            <pc:docMk/>
            <pc:sldMasterMk cId="733524331" sldId="2147484216"/>
            <pc:sldLayoutMk cId="1978105902" sldId="214748422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13" v="264" actId="2696"/>
          <pc:sldLayoutMkLst>
            <pc:docMk/>
            <pc:sldMasterMk cId="733524331" sldId="2147484216"/>
            <pc:sldLayoutMk cId="821916525" sldId="214748422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17" v="265" actId="2696"/>
          <pc:sldLayoutMkLst>
            <pc:docMk/>
            <pc:sldMasterMk cId="733524331" sldId="2147484216"/>
            <pc:sldLayoutMk cId="1232170118" sldId="214748423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21" v="266" actId="2696"/>
          <pc:sldLayoutMkLst>
            <pc:docMk/>
            <pc:sldMasterMk cId="733524331" sldId="2147484216"/>
            <pc:sldLayoutMk cId="3680158171" sldId="214748423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23" v="267" actId="2696"/>
          <pc:sldLayoutMkLst>
            <pc:docMk/>
            <pc:sldMasterMk cId="733524331" sldId="2147484216"/>
            <pc:sldLayoutMk cId="4180248472" sldId="214748423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26" v="268" actId="2696"/>
          <pc:sldLayoutMkLst>
            <pc:docMk/>
            <pc:sldMasterMk cId="733524331" sldId="2147484216"/>
            <pc:sldLayoutMk cId="267612289" sldId="214748423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28" v="269" actId="2696"/>
          <pc:sldLayoutMkLst>
            <pc:docMk/>
            <pc:sldMasterMk cId="733524331" sldId="2147484216"/>
            <pc:sldLayoutMk cId="3329830100" sldId="214748423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31" v="270" actId="2696"/>
          <pc:sldLayoutMkLst>
            <pc:docMk/>
            <pc:sldMasterMk cId="733524331" sldId="2147484216"/>
            <pc:sldLayoutMk cId="778409235" sldId="214748423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33" v="271" actId="2696"/>
          <pc:sldLayoutMkLst>
            <pc:docMk/>
            <pc:sldMasterMk cId="733524331" sldId="2147484216"/>
            <pc:sldLayoutMk cId="2670079734" sldId="214748423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37" v="272" actId="2696"/>
          <pc:sldLayoutMkLst>
            <pc:docMk/>
            <pc:sldMasterMk cId="733524331" sldId="2147484216"/>
            <pc:sldLayoutMk cId="3832053420" sldId="214748423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40" v="273" actId="2696"/>
          <pc:sldLayoutMkLst>
            <pc:docMk/>
            <pc:sldMasterMk cId="733524331" sldId="2147484216"/>
            <pc:sldLayoutMk cId="4252365796" sldId="214748423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43" v="274" actId="2696"/>
          <pc:sldLayoutMkLst>
            <pc:docMk/>
            <pc:sldMasterMk cId="733524331" sldId="2147484216"/>
            <pc:sldLayoutMk cId="488568514" sldId="214748423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47" v="275" actId="2696"/>
          <pc:sldLayoutMkLst>
            <pc:docMk/>
            <pc:sldMasterMk cId="733524331" sldId="2147484216"/>
            <pc:sldLayoutMk cId="3822008278" sldId="214748424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50" v="276" actId="2696"/>
          <pc:sldLayoutMkLst>
            <pc:docMk/>
            <pc:sldMasterMk cId="733524331" sldId="2147484216"/>
            <pc:sldLayoutMk cId="1556416555" sldId="214748424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53" v="277" actId="2696"/>
          <pc:sldLayoutMkLst>
            <pc:docMk/>
            <pc:sldMasterMk cId="733524331" sldId="2147484216"/>
            <pc:sldLayoutMk cId="2516228180" sldId="214748424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57" v="278" actId="2696"/>
          <pc:sldLayoutMkLst>
            <pc:docMk/>
            <pc:sldMasterMk cId="733524331" sldId="2147484216"/>
            <pc:sldLayoutMk cId="4213225599" sldId="214748424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61" v="279" actId="2696"/>
          <pc:sldLayoutMkLst>
            <pc:docMk/>
            <pc:sldMasterMk cId="733524331" sldId="2147484216"/>
            <pc:sldLayoutMk cId="1708154004" sldId="214748424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63" v="280" actId="2696"/>
          <pc:sldLayoutMkLst>
            <pc:docMk/>
            <pc:sldMasterMk cId="733524331" sldId="2147484216"/>
            <pc:sldLayoutMk cId="765297536" sldId="214748424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376" v="281" actId="2696"/>
          <pc:sldLayoutMkLst>
            <pc:docMk/>
            <pc:sldMasterMk cId="733524331" sldId="2147484216"/>
            <pc:sldLayoutMk cId="2583315811" sldId="2147484247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49.162" v="73" actId="2696"/>
        <pc:sldMasterMkLst>
          <pc:docMk/>
          <pc:sldMasterMk cId="3192861512" sldId="2147484248"/>
        </pc:sldMasterMkLst>
        <pc:sldLayoutChg chg="del">
          <pc:chgData name="Iker Beguiristain Armendaritz" userId="2e916005-fdeb-489c-b2b0-a9a7c20d41d0" providerId="ADAL" clId="{890EFAFB-A238-4A37-9E11-7C38AC7E6396}" dt="2022-02-04T12:44:48.998" v="43" actId="2696"/>
          <pc:sldLayoutMkLst>
            <pc:docMk/>
            <pc:sldMasterMk cId="3192861512" sldId="2147484248"/>
            <pc:sldLayoutMk cId="2845255012" sldId="214748424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" v="44" actId="2696"/>
          <pc:sldLayoutMkLst>
            <pc:docMk/>
            <pc:sldMasterMk cId="3192861512" sldId="2147484248"/>
            <pc:sldLayoutMk cId="3005402608" sldId="214748425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02" v="45" actId="2696"/>
          <pc:sldLayoutMkLst>
            <pc:docMk/>
            <pc:sldMasterMk cId="3192861512" sldId="2147484248"/>
            <pc:sldLayoutMk cId="1228511786" sldId="214748425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05" v="46" actId="2696"/>
          <pc:sldLayoutMkLst>
            <pc:docMk/>
            <pc:sldMasterMk cId="3192861512" sldId="2147484248"/>
            <pc:sldLayoutMk cId="1790389645" sldId="214748425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07" v="47" actId="2696"/>
          <pc:sldLayoutMkLst>
            <pc:docMk/>
            <pc:sldMasterMk cId="3192861512" sldId="2147484248"/>
            <pc:sldLayoutMk cId="3558408682" sldId="214748425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09" v="48" actId="2696"/>
          <pc:sldLayoutMkLst>
            <pc:docMk/>
            <pc:sldMasterMk cId="3192861512" sldId="2147484248"/>
            <pc:sldLayoutMk cId="1127198955" sldId="214748425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12" v="49" actId="2696"/>
          <pc:sldLayoutMkLst>
            <pc:docMk/>
            <pc:sldMasterMk cId="3192861512" sldId="2147484248"/>
            <pc:sldLayoutMk cId="3015073054" sldId="214748425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13" v="50" actId="2696"/>
          <pc:sldLayoutMkLst>
            <pc:docMk/>
            <pc:sldMasterMk cId="3192861512" sldId="2147484248"/>
            <pc:sldLayoutMk cId="1239678872" sldId="214748425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22" v="51" actId="2696"/>
          <pc:sldLayoutMkLst>
            <pc:docMk/>
            <pc:sldMasterMk cId="3192861512" sldId="2147484248"/>
            <pc:sldLayoutMk cId="3688330686" sldId="214748425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48" v="52" actId="2696"/>
          <pc:sldLayoutMkLst>
            <pc:docMk/>
            <pc:sldMasterMk cId="3192861512" sldId="2147484248"/>
            <pc:sldLayoutMk cId="3293047374" sldId="214748425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76" v="53" actId="2696"/>
          <pc:sldLayoutMkLst>
            <pc:docMk/>
            <pc:sldMasterMk cId="3192861512" sldId="2147484248"/>
            <pc:sldLayoutMk cId="2929676487" sldId="214748425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79" v="54" actId="2696"/>
          <pc:sldLayoutMkLst>
            <pc:docMk/>
            <pc:sldMasterMk cId="3192861512" sldId="2147484248"/>
            <pc:sldLayoutMk cId="2196101950" sldId="214748426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81" v="55" actId="2696"/>
          <pc:sldLayoutMkLst>
            <pc:docMk/>
            <pc:sldMasterMk cId="3192861512" sldId="2147484248"/>
            <pc:sldLayoutMk cId="1368718584" sldId="214748426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84" v="56" actId="2696"/>
          <pc:sldLayoutMkLst>
            <pc:docMk/>
            <pc:sldMasterMk cId="3192861512" sldId="2147484248"/>
            <pc:sldLayoutMk cId="1687330510" sldId="214748426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86" v="57" actId="2696"/>
          <pc:sldLayoutMkLst>
            <pc:docMk/>
            <pc:sldMasterMk cId="3192861512" sldId="2147484248"/>
            <pc:sldLayoutMk cId="3490121216" sldId="214748426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88" v="58" actId="2696"/>
          <pc:sldLayoutMkLst>
            <pc:docMk/>
            <pc:sldMasterMk cId="3192861512" sldId="2147484248"/>
            <pc:sldLayoutMk cId="1836449697" sldId="214748426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90" v="59" actId="2696"/>
          <pc:sldLayoutMkLst>
            <pc:docMk/>
            <pc:sldMasterMk cId="3192861512" sldId="2147484248"/>
            <pc:sldLayoutMk cId="543853047" sldId="214748426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92" v="60" actId="2696"/>
          <pc:sldLayoutMkLst>
            <pc:docMk/>
            <pc:sldMasterMk cId="3192861512" sldId="2147484248"/>
            <pc:sldLayoutMk cId="4143436433" sldId="214748426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94" v="61" actId="2696"/>
          <pc:sldLayoutMkLst>
            <pc:docMk/>
            <pc:sldMasterMk cId="3192861512" sldId="2147484248"/>
            <pc:sldLayoutMk cId="1197099813" sldId="214748426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97" v="62" actId="2696"/>
          <pc:sldLayoutMkLst>
            <pc:docMk/>
            <pc:sldMasterMk cId="3192861512" sldId="2147484248"/>
            <pc:sldLayoutMk cId="2168477863" sldId="214748426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099" v="63" actId="2696"/>
          <pc:sldLayoutMkLst>
            <pc:docMk/>
            <pc:sldMasterMk cId="3192861512" sldId="2147484248"/>
            <pc:sldLayoutMk cId="3070667653" sldId="214748426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101" v="64" actId="2696"/>
          <pc:sldLayoutMkLst>
            <pc:docMk/>
            <pc:sldMasterMk cId="3192861512" sldId="2147484248"/>
            <pc:sldLayoutMk cId="2655639888" sldId="214748427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105" v="65" actId="2696"/>
          <pc:sldLayoutMkLst>
            <pc:docMk/>
            <pc:sldMasterMk cId="3192861512" sldId="2147484248"/>
            <pc:sldLayoutMk cId="365079844" sldId="214748427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108" v="66" actId="2696"/>
          <pc:sldLayoutMkLst>
            <pc:docMk/>
            <pc:sldMasterMk cId="3192861512" sldId="2147484248"/>
            <pc:sldLayoutMk cId="2769283570" sldId="214748427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110" v="67" actId="2696"/>
          <pc:sldLayoutMkLst>
            <pc:docMk/>
            <pc:sldMasterMk cId="3192861512" sldId="2147484248"/>
            <pc:sldLayoutMk cId="2915671823" sldId="214748427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114" v="68" actId="2696"/>
          <pc:sldLayoutMkLst>
            <pc:docMk/>
            <pc:sldMasterMk cId="3192861512" sldId="2147484248"/>
            <pc:sldLayoutMk cId="4052249312" sldId="214748427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117" v="69" actId="2696"/>
          <pc:sldLayoutMkLst>
            <pc:docMk/>
            <pc:sldMasterMk cId="3192861512" sldId="2147484248"/>
            <pc:sldLayoutMk cId="2371779972" sldId="214748427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120" v="70" actId="2696"/>
          <pc:sldLayoutMkLst>
            <pc:docMk/>
            <pc:sldMasterMk cId="3192861512" sldId="2147484248"/>
            <pc:sldLayoutMk cId="4005646042" sldId="214748427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123" v="71" actId="2696"/>
          <pc:sldLayoutMkLst>
            <pc:docMk/>
            <pc:sldMasterMk cId="3192861512" sldId="2147484248"/>
            <pc:sldLayoutMk cId="4075330093" sldId="214748427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135" v="72" actId="2696"/>
          <pc:sldLayoutMkLst>
            <pc:docMk/>
            <pc:sldMasterMk cId="3192861512" sldId="2147484248"/>
            <pc:sldLayoutMk cId="2890401619" sldId="2147484279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0.639" v="319" actId="2696"/>
        <pc:sldMasterMkLst>
          <pc:docMk/>
          <pc:sldMasterMk cId="2117460963" sldId="2147484397"/>
        </pc:sldMasterMkLst>
        <pc:sldLayoutChg chg="del">
          <pc:chgData name="Iker Beguiristain Armendaritz" userId="2e916005-fdeb-489c-b2b0-a9a7c20d41d0" providerId="ADAL" clId="{890EFAFB-A238-4A37-9E11-7C38AC7E6396}" dt="2022-02-04T12:44:50.481" v="290" actId="2696"/>
          <pc:sldLayoutMkLst>
            <pc:docMk/>
            <pc:sldMasterMk cId="2117460963" sldId="2147484397"/>
            <pc:sldLayoutMk cId="4235368255" sldId="214748439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484" v="291" actId="2696"/>
          <pc:sldLayoutMkLst>
            <pc:docMk/>
            <pc:sldMasterMk cId="2117460963" sldId="2147484397"/>
            <pc:sldLayoutMk cId="1924365469" sldId="214748439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486" v="292" actId="2696"/>
          <pc:sldLayoutMkLst>
            <pc:docMk/>
            <pc:sldMasterMk cId="2117460963" sldId="2147484397"/>
            <pc:sldLayoutMk cId="3207011563" sldId="214748440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490" v="293" actId="2696"/>
          <pc:sldLayoutMkLst>
            <pc:docMk/>
            <pc:sldMasterMk cId="2117460963" sldId="2147484397"/>
            <pc:sldLayoutMk cId="3523560856" sldId="214748440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493" v="294" actId="2696"/>
          <pc:sldLayoutMkLst>
            <pc:docMk/>
            <pc:sldMasterMk cId="2117460963" sldId="2147484397"/>
            <pc:sldLayoutMk cId="1610341381" sldId="214748440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495" v="295" actId="2696"/>
          <pc:sldLayoutMkLst>
            <pc:docMk/>
            <pc:sldMasterMk cId="2117460963" sldId="2147484397"/>
            <pc:sldLayoutMk cId="319085923" sldId="214748440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498" v="296" actId="2696"/>
          <pc:sldLayoutMkLst>
            <pc:docMk/>
            <pc:sldMasterMk cId="2117460963" sldId="2147484397"/>
            <pc:sldLayoutMk cId="2359219151" sldId="214748440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00" v="297" actId="2696"/>
          <pc:sldLayoutMkLst>
            <pc:docMk/>
            <pc:sldMasterMk cId="2117460963" sldId="2147484397"/>
            <pc:sldLayoutMk cId="3035178500" sldId="214748440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10" v="298" actId="2696"/>
          <pc:sldLayoutMkLst>
            <pc:docMk/>
            <pc:sldMasterMk cId="2117460963" sldId="2147484397"/>
            <pc:sldLayoutMk cId="2354751382" sldId="214748440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38" v="299" actId="2696"/>
          <pc:sldLayoutMkLst>
            <pc:docMk/>
            <pc:sldMasterMk cId="2117460963" sldId="2147484397"/>
            <pc:sldLayoutMk cId="2318297332" sldId="214748440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66" v="300" actId="2696"/>
          <pc:sldLayoutMkLst>
            <pc:docMk/>
            <pc:sldMasterMk cId="2117460963" sldId="2147484397"/>
            <pc:sldLayoutMk cId="793547098" sldId="214748440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69" v="301" actId="2696"/>
          <pc:sldLayoutMkLst>
            <pc:docMk/>
            <pc:sldMasterMk cId="2117460963" sldId="2147484397"/>
            <pc:sldLayoutMk cId="3389679273" sldId="214748440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71" v="302" actId="2696"/>
          <pc:sldLayoutMkLst>
            <pc:docMk/>
            <pc:sldMasterMk cId="2117460963" sldId="2147484397"/>
            <pc:sldLayoutMk cId="3850244611" sldId="214748441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74" v="303" actId="2696"/>
          <pc:sldLayoutMkLst>
            <pc:docMk/>
            <pc:sldMasterMk cId="2117460963" sldId="2147484397"/>
            <pc:sldLayoutMk cId="4225896063" sldId="214748441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76" v="304" actId="2696"/>
          <pc:sldLayoutMkLst>
            <pc:docMk/>
            <pc:sldMasterMk cId="2117460963" sldId="2147484397"/>
            <pc:sldLayoutMk cId="3448047412" sldId="214748441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78" v="305" actId="2696"/>
          <pc:sldLayoutMkLst>
            <pc:docMk/>
            <pc:sldMasterMk cId="2117460963" sldId="2147484397"/>
            <pc:sldLayoutMk cId="731899499" sldId="214748441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80" v="306" actId="2696"/>
          <pc:sldLayoutMkLst>
            <pc:docMk/>
            <pc:sldMasterMk cId="2117460963" sldId="2147484397"/>
            <pc:sldLayoutMk cId="2604485565" sldId="214748441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82" v="307" actId="2696"/>
          <pc:sldLayoutMkLst>
            <pc:docMk/>
            <pc:sldMasterMk cId="2117460963" sldId="2147484397"/>
            <pc:sldLayoutMk cId="194047664" sldId="214748441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83" v="308" actId="2696"/>
          <pc:sldLayoutMkLst>
            <pc:docMk/>
            <pc:sldMasterMk cId="2117460963" sldId="2147484397"/>
            <pc:sldLayoutMk cId="2193170934" sldId="214748441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85" v="309" actId="2696"/>
          <pc:sldLayoutMkLst>
            <pc:docMk/>
            <pc:sldMasterMk cId="2117460963" sldId="2147484397"/>
            <pc:sldLayoutMk cId="692255230" sldId="214748441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87" v="310" actId="2696"/>
          <pc:sldLayoutMkLst>
            <pc:docMk/>
            <pc:sldMasterMk cId="2117460963" sldId="2147484397"/>
            <pc:sldLayoutMk cId="1966604441" sldId="214748441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89" v="311" actId="2696"/>
          <pc:sldLayoutMkLst>
            <pc:docMk/>
            <pc:sldMasterMk cId="2117460963" sldId="2147484397"/>
            <pc:sldLayoutMk cId="1322303559" sldId="214748441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92" v="312" actId="2696"/>
          <pc:sldLayoutMkLst>
            <pc:docMk/>
            <pc:sldMasterMk cId="2117460963" sldId="2147484397"/>
            <pc:sldLayoutMk cId="4222422239" sldId="214748442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94" v="313" actId="2696"/>
          <pc:sldLayoutMkLst>
            <pc:docMk/>
            <pc:sldMasterMk cId="2117460963" sldId="2147484397"/>
            <pc:sldLayoutMk cId="1492707071" sldId="214748442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96" v="314" actId="2696"/>
          <pc:sldLayoutMkLst>
            <pc:docMk/>
            <pc:sldMasterMk cId="2117460963" sldId="2147484397"/>
            <pc:sldLayoutMk cId="992837379" sldId="214748442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598" v="315" actId="2696"/>
          <pc:sldLayoutMkLst>
            <pc:docMk/>
            <pc:sldMasterMk cId="2117460963" sldId="2147484397"/>
            <pc:sldLayoutMk cId="3423413081" sldId="214748442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602" v="316" actId="2696"/>
          <pc:sldLayoutMkLst>
            <pc:docMk/>
            <pc:sldMasterMk cId="2117460963" sldId="2147484397"/>
            <pc:sldLayoutMk cId="3802493939" sldId="214748442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606" v="317" actId="2696"/>
          <pc:sldLayoutMkLst>
            <pc:docMk/>
            <pc:sldMasterMk cId="2117460963" sldId="2147484397"/>
            <pc:sldLayoutMk cId="1231545896" sldId="214748442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608" v="318" actId="2696"/>
          <pc:sldLayoutMkLst>
            <pc:docMk/>
            <pc:sldMasterMk cId="2117460963" sldId="2147484397"/>
            <pc:sldLayoutMk cId="106191635" sldId="2147484426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0.182" v="251" actId="2696"/>
        <pc:sldMasterMkLst>
          <pc:docMk/>
          <pc:sldMasterMk cId="3867962276" sldId="2147484603"/>
        </pc:sldMasterMkLst>
        <pc:sldLayoutChg chg="del">
          <pc:chgData name="Iker Beguiristain Armendaritz" userId="2e916005-fdeb-489c-b2b0-a9a7c20d41d0" providerId="ADAL" clId="{890EFAFB-A238-4A37-9E11-7C38AC7E6396}" dt="2022-02-04T12:44:50.006" v="218" actId="2696"/>
          <pc:sldLayoutMkLst>
            <pc:docMk/>
            <pc:sldMasterMk cId="3867962276" sldId="2147484603"/>
            <pc:sldLayoutMk cId="3100335412" sldId="214748460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14" v="219" actId="2696"/>
          <pc:sldLayoutMkLst>
            <pc:docMk/>
            <pc:sldMasterMk cId="3867962276" sldId="2147484603"/>
            <pc:sldLayoutMk cId="602908533" sldId="214748460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41" v="220" actId="2696"/>
          <pc:sldLayoutMkLst>
            <pc:docMk/>
            <pc:sldMasterMk cId="3867962276" sldId="2147484603"/>
            <pc:sldLayoutMk cId="2152630250" sldId="214748460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73" v="221" actId="2696"/>
          <pc:sldLayoutMkLst>
            <pc:docMk/>
            <pc:sldMasterMk cId="3867962276" sldId="2147484603"/>
            <pc:sldLayoutMk cId="101804992" sldId="214748460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76" v="222" actId="2696"/>
          <pc:sldLayoutMkLst>
            <pc:docMk/>
            <pc:sldMasterMk cId="3867962276" sldId="2147484603"/>
            <pc:sldLayoutMk cId="389817912" sldId="214748460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79" v="223" actId="2696"/>
          <pc:sldLayoutMkLst>
            <pc:docMk/>
            <pc:sldMasterMk cId="3867962276" sldId="2147484603"/>
            <pc:sldLayoutMk cId="2315792959" sldId="214748460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81" v="224" actId="2696"/>
          <pc:sldLayoutMkLst>
            <pc:docMk/>
            <pc:sldMasterMk cId="3867962276" sldId="2147484603"/>
            <pc:sldLayoutMk cId="4138598343" sldId="214748461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84" v="225" actId="2696"/>
          <pc:sldLayoutMkLst>
            <pc:docMk/>
            <pc:sldMasterMk cId="3867962276" sldId="2147484603"/>
            <pc:sldLayoutMk cId="2438512375" sldId="214748461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86" v="226" actId="2696"/>
          <pc:sldLayoutMkLst>
            <pc:docMk/>
            <pc:sldMasterMk cId="3867962276" sldId="2147484603"/>
            <pc:sldLayoutMk cId="1370748274" sldId="214748461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88" v="227" actId="2696"/>
          <pc:sldLayoutMkLst>
            <pc:docMk/>
            <pc:sldMasterMk cId="3867962276" sldId="2147484603"/>
            <pc:sldLayoutMk cId="844004984" sldId="214748461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90" v="228" actId="2696"/>
          <pc:sldLayoutMkLst>
            <pc:docMk/>
            <pc:sldMasterMk cId="3867962276" sldId="2147484603"/>
            <pc:sldLayoutMk cId="3549121207" sldId="214748461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92" v="229" actId="2696"/>
          <pc:sldLayoutMkLst>
            <pc:docMk/>
            <pc:sldMasterMk cId="3867962276" sldId="2147484603"/>
            <pc:sldLayoutMk cId="343712102" sldId="214748461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96" v="230" actId="2696"/>
          <pc:sldLayoutMkLst>
            <pc:docMk/>
            <pc:sldMasterMk cId="3867962276" sldId="2147484603"/>
            <pc:sldLayoutMk cId="139003530" sldId="214748461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098" v="231" actId="2696"/>
          <pc:sldLayoutMkLst>
            <pc:docMk/>
            <pc:sldMasterMk cId="3867962276" sldId="2147484603"/>
            <pc:sldLayoutMk cId="2031498829" sldId="214748461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01" v="232" actId="2696"/>
          <pc:sldLayoutMkLst>
            <pc:docMk/>
            <pc:sldMasterMk cId="3867962276" sldId="2147484603"/>
            <pc:sldLayoutMk cId="3821433564" sldId="214748461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03" v="233" actId="2696"/>
          <pc:sldLayoutMkLst>
            <pc:docMk/>
            <pc:sldMasterMk cId="3867962276" sldId="2147484603"/>
            <pc:sldLayoutMk cId="2161446820" sldId="214748461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05" v="234" actId="2696"/>
          <pc:sldLayoutMkLst>
            <pc:docMk/>
            <pc:sldMasterMk cId="3867962276" sldId="2147484603"/>
            <pc:sldLayoutMk cId="242306048" sldId="214748462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08" v="235" actId="2696"/>
          <pc:sldLayoutMkLst>
            <pc:docMk/>
            <pc:sldMasterMk cId="3867962276" sldId="2147484603"/>
            <pc:sldLayoutMk cId="3610959373" sldId="214748462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10" v="236" actId="2696"/>
          <pc:sldLayoutMkLst>
            <pc:docMk/>
            <pc:sldMasterMk cId="3867962276" sldId="2147484603"/>
            <pc:sldLayoutMk cId="811450093" sldId="214748462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13" v="237" actId="2696"/>
          <pc:sldLayoutMkLst>
            <pc:docMk/>
            <pc:sldMasterMk cId="3867962276" sldId="2147484603"/>
            <pc:sldLayoutMk cId="3588698372" sldId="214748462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14" v="238" actId="2696"/>
          <pc:sldLayoutMkLst>
            <pc:docMk/>
            <pc:sldMasterMk cId="3867962276" sldId="2147484603"/>
            <pc:sldLayoutMk cId="19986301" sldId="214748462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17" v="239" actId="2696"/>
          <pc:sldLayoutMkLst>
            <pc:docMk/>
            <pc:sldMasterMk cId="3867962276" sldId="2147484603"/>
            <pc:sldLayoutMk cId="2233948007" sldId="214748462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18" v="240" actId="2696"/>
          <pc:sldLayoutMkLst>
            <pc:docMk/>
            <pc:sldMasterMk cId="3867962276" sldId="2147484603"/>
            <pc:sldLayoutMk cId="2255860528" sldId="214748462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20" v="241" actId="2696"/>
          <pc:sldLayoutMkLst>
            <pc:docMk/>
            <pc:sldMasterMk cId="3867962276" sldId="2147484603"/>
            <pc:sldLayoutMk cId="3835752200" sldId="214748462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22" v="242" actId="2696"/>
          <pc:sldLayoutMkLst>
            <pc:docMk/>
            <pc:sldMasterMk cId="3867962276" sldId="2147484603"/>
            <pc:sldLayoutMk cId="1445558851" sldId="214748462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24" v="243" actId="2696"/>
          <pc:sldLayoutMkLst>
            <pc:docMk/>
            <pc:sldMasterMk cId="3867962276" sldId="2147484603"/>
            <pc:sldLayoutMk cId="3604940453" sldId="214748462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26" v="244" actId="2696"/>
          <pc:sldLayoutMkLst>
            <pc:docMk/>
            <pc:sldMasterMk cId="3867962276" sldId="2147484603"/>
            <pc:sldLayoutMk cId="4013469100" sldId="214748463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29" v="245" actId="2696"/>
          <pc:sldLayoutMkLst>
            <pc:docMk/>
            <pc:sldMasterMk cId="3867962276" sldId="2147484603"/>
            <pc:sldLayoutMk cId="1872702918" sldId="214748463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31" v="246" actId="2696"/>
          <pc:sldLayoutMkLst>
            <pc:docMk/>
            <pc:sldMasterMk cId="3867962276" sldId="2147484603"/>
            <pc:sldLayoutMk cId="3111095963" sldId="214748463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32" v="247" actId="2696"/>
          <pc:sldLayoutMkLst>
            <pc:docMk/>
            <pc:sldMasterMk cId="3867962276" sldId="2147484603"/>
            <pc:sldLayoutMk cId="1463687396" sldId="214748463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39" v="248" actId="2696"/>
          <pc:sldLayoutMkLst>
            <pc:docMk/>
            <pc:sldMasterMk cId="3867962276" sldId="2147484603"/>
            <pc:sldLayoutMk cId="58314285" sldId="214748463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42" v="249" actId="2696"/>
          <pc:sldLayoutMkLst>
            <pc:docMk/>
            <pc:sldMasterMk cId="3867962276" sldId="2147484603"/>
            <pc:sldLayoutMk cId="3471617701" sldId="214748463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145" v="250" actId="2696"/>
          <pc:sldLayoutMkLst>
            <pc:docMk/>
            <pc:sldMasterMk cId="3867962276" sldId="2147484603"/>
            <pc:sldLayoutMk cId="3225047858" sldId="2147484636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49.740" v="183" actId="2696"/>
        <pc:sldMasterMkLst>
          <pc:docMk/>
          <pc:sldMasterMk cId="1317838849" sldId="2147484637"/>
        </pc:sldMasterMkLst>
        <pc:sldLayoutChg chg="del">
          <pc:chgData name="Iker Beguiristain Armendaritz" userId="2e916005-fdeb-489c-b2b0-a9a7c20d41d0" providerId="ADAL" clId="{890EFAFB-A238-4A37-9E11-7C38AC7E6396}" dt="2022-02-04T12:44:49.559" v="150" actId="2696"/>
          <pc:sldLayoutMkLst>
            <pc:docMk/>
            <pc:sldMasterMk cId="1317838849" sldId="2147484637"/>
            <pc:sldLayoutMk cId="1592804572" sldId="214748463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66" v="151" actId="2696"/>
          <pc:sldLayoutMkLst>
            <pc:docMk/>
            <pc:sldMasterMk cId="1317838849" sldId="2147484637"/>
            <pc:sldLayoutMk cId="800598537" sldId="214748463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590" v="152" actId="2696"/>
          <pc:sldLayoutMkLst>
            <pc:docMk/>
            <pc:sldMasterMk cId="1317838849" sldId="2147484637"/>
            <pc:sldLayoutMk cId="1464604092" sldId="214748464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13" v="153" actId="2696"/>
          <pc:sldLayoutMkLst>
            <pc:docMk/>
            <pc:sldMasterMk cId="1317838849" sldId="2147484637"/>
            <pc:sldLayoutMk cId="3549069759" sldId="214748464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16" v="154" actId="2696"/>
          <pc:sldLayoutMkLst>
            <pc:docMk/>
            <pc:sldMasterMk cId="1317838849" sldId="2147484637"/>
            <pc:sldLayoutMk cId="854766435" sldId="214748464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18" v="155" actId="2696"/>
          <pc:sldLayoutMkLst>
            <pc:docMk/>
            <pc:sldMasterMk cId="1317838849" sldId="2147484637"/>
            <pc:sldLayoutMk cId="970758987" sldId="214748464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20" v="156" actId="2696"/>
          <pc:sldLayoutMkLst>
            <pc:docMk/>
            <pc:sldMasterMk cId="1317838849" sldId="2147484637"/>
            <pc:sldLayoutMk cId="2080009163" sldId="214748464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22" v="157" actId="2696"/>
          <pc:sldLayoutMkLst>
            <pc:docMk/>
            <pc:sldMasterMk cId="1317838849" sldId="2147484637"/>
            <pc:sldLayoutMk cId="3314924146" sldId="214748464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24" v="158" actId="2696"/>
          <pc:sldLayoutMkLst>
            <pc:docMk/>
            <pc:sldMasterMk cId="1317838849" sldId="2147484637"/>
            <pc:sldLayoutMk cId="3755882118" sldId="214748464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28" v="159" actId="2696"/>
          <pc:sldLayoutMkLst>
            <pc:docMk/>
            <pc:sldMasterMk cId="1317838849" sldId="2147484637"/>
            <pc:sldLayoutMk cId="2424835104" sldId="214748464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31" v="160" actId="2696"/>
          <pc:sldLayoutMkLst>
            <pc:docMk/>
            <pc:sldMasterMk cId="1317838849" sldId="2147484637"/>
            <pc:sldLayoutMk cId="716567264" sldId="214748464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34" v="161" actId="2696"/>
          <pc:sldLayoutMkLst>
            <pc:docMk/>
            <pc:sldMasterMk cId="1317838849" sldId="2147484637"/>
            <pc:sldLayoutMk cId="3480641705" sldId="214748464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38" v="162" actId="2696"/>
          <pc:sldLayoutMkLst>
            <pc:docMk/>
            <pc:sldMasterMk cId="1317838849" sldId="2147484637"/>
            <pc:sldLayoutMk cId="3219338691" sldId="214748465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42" v="163" actId="2696"/>
          <pc:sldLayoutMkLst>
            <pc:docMk/>
            <pc:sldMasterMk cId="1317838849" sldId="2147484637"/>
            <pc:sldLayoutMk cId="234147463" sldId="214748465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45" v="164" actId="2696"/>
          <pc:sldLayoutMkLst>
            <pc:docMk/>
            <pc:sldMasterMk cId="1317838849" sldId="2147484637"/>
            <pc:sldLayoutMk cId="1266920579" sldId="214748465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50" v="165" actId="2696"/>
          <pc:sldLayoutMkLst>
            <pc:docMk/>
            <pc:sldMasterMk cId="1317838849" sldId="2147484637"/>
            <pc:sldLayoutMk cId="1785551605" sldId="214748465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54" v="166" actId="2696"/>
          <pc:sldLayoutMkLst>
            <pc:docMk/>
            <pc:sldMasterMk cId="1317838849" sldId="2147484637"/>
            <pc:sldLayoutMk cId="3743480983" sldId="214748465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60" v="167" actId="2696"/>
          <pc:sldLayoutMkLst>
            <pc:docMk/>
            <pc:sldMasterMk cId="1317838849" sldId="2147484637"/>
            <pc:sldLayoutMk cId="3798598346" sldId="214748465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63" v="168" actId="2696"/>
          <pc:sldLayoutMkLst>
            <pc:docMk/>
            <pc:sldMasterMk cId="1317838849" sldId="2147484637"/>
            <pc:sldLayoutMk cId="1011010674" sldId="214748465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67" v="169" actId="2696"/>
          <pc:sldLayoutMkLst>
            <pc:docMk/>
            <pc:sldMasterMk cId="1317838849" sldId="2147484637"/>
            <pc:sldLayoutMk cId="2937010869" sldId="214748465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70" v="170" actId="2696"/>
          <pc:sldLayoutMkLst>
            <pc:docMk/>
            <pc:sldMasterMk cId="1317838849" sldId="2147484637"/>
            <pc:sldLayoutMk cId="1089720072" sldId="214748465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73" v="171" actId="2696"/>
          <pc:sldLayoutMkLst>
            <pc:docMk/>
            <pc:sldMasterMk cId="1317838849" sldId="2147484637"/>
            <pc:sldLayoutMk cId="470079196" sldId="214748465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76" v="172" actId="2696"/>
          <pc:sldLayoutMkLst>
            <pc:docMk/>
            <pc:sldMasterMk cId="1317838849" sldId="2147484637"/>
            <pc:sldLayoutMk cId="4083787822" sldId="214748466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79" v="173" actId="2696"/>
          <pc:sldLayoutMkLst>
            <pc:docMk/>
            <pc:sldMasterMk cId="1317838849" sldId="2147484637"/>
            <pc:sldLayoutMk cId="1836979372" sldId="214748466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82" v="174" actId="2696"/>
          <pc:sldLayoutMkLst>
            <pc:docMk/>
            <pc:sldMasterMk cId="1317838849" sldId="2147484637"/>
            <pc:sldLayoutMk cId="4022428909" sldId="214748466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85" v="175" actId="2696"/>
          <pc:sldLayoutMkLst>
            <pc:docMk/>
            <pc:sldMasterMk cId="1317838849" sldId="2147484637"/>
            <pc:sldLayoutMk cId="2611261408" sldId="214748466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88" v="176" actId="2696"/>
          <pc:sldLayoutMkLst>
            <pc:docMk/>
            <pc:sldMasterMk cId="1317838849" sldId="2147484637"/>
            <pc:sldLayoutMk cId="528602991" sldId="214748466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91" v="177" actId="2696"/>
          <pc:sldLayoutMkLst>
            <pc:docMk/>
            <pc:sldMasterMk cId="1317838849" sldId="2147484637"/>
            <pc:sldLayoutMk cId="4161128107" sldId="214748466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94" v="178" actId="2696"/>
          <pc:sldLayoutMkLst>
            <pc:docMk/>
            <pc:sldMasterMk cId="1317838849" sldId="2147484637"/>
            <pc:sldLayoutMk cId="1654049606" sldId="214748466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696" v="179" actId="2696"/>
          <pc:sldLayoutMkLst>
            <pc:docMk/>
            <pc:sldMasterMk cId="1317838849" sldId="2147484637"/>
            <pc:sldLayoutMk cId="3258814274" sldId="214748466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707" v="180" actId="2696"/>
          <pc:sldLayoutMkLst>
            <pc:docMk/>
            <pc:sldMasterMk cId="1317838849" sldId="2147484637"/>
            <pc:sldLayoutMk cId="2830180660" sldId="214748466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711" v="181" actId="2696"/>
          <pc:sldLayoutMkLst>
            <pc:docMk/>
            <pc:sldMasterMk cId="1317838849" sldId="2147484637"/>
            <pc:sldLayoutMk cId="1966477" sldId="214748466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714" v="182" actId="2696"/>
          <pc:sldLayoutMkLst>
            <pc:docMk/>
            <pc:sldMasterMk cId="1317838849" sldId="2147484637"/>
            <pc:sldLayoutMk cId="2638945782" sldId="2147484670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2.223" v="594" actId="2696"/>
        <pc:sldMasterMkLst>
          <pc:docMk/>
          <pc:sldMasterMk cId="566304387" sldId="2147484671"/>
        </pc:sldMasterMkLst>
        <pc:sldLayoutChg chg="del">
          <pc:chgData name="Iker Beguiristain Armendaritz" userId="2e916005-fdeb-489c-b2b0-a9a7c20d41d0" providerId="ADAL" clId="{890EFAFB-A238-4A37-9E11-7C38AC7E6396}" dt="2022-02-04T12:44:52.031" v="562" actId="2696"/>
          <pc:sldLayoutMkLst>
            <pc:docMk/>
            <pc:sldMasterMk cId="566304387" sldId="2147484671"/>
            <pc:sldLayoutMk cId="855927640" sldId="214748467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041" v="563" actId="2696"/>
          <pc:sldLayoutMkLst>
            <pc:docMk/>
            <pc:sldMasterMk cId="566304387" sldId="2147484671"/>
            <pc:sldLayoutMk cId="3014899361" sldId="214748467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050" v="564" actId="2696"/>
          <pc:sldLayoutMkLst>
            <pc:docMk/>
            <pc:sldMasterMk cId="566304387" sldId="2147484671"/>
            <pc:sldLayoutMk cId="3974331597" sldId="214748467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076" v="565" actId="2696"/>
          <pc:sldLayoutMkLst>
            <pc:docMk/>
            <pc:sldMasterMk cId="566304387" sldId="2147484671"/>
            <pc:sldLayoutMk cId="3223228415" sldId="214748467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19" v="566" actId="2696"/>
          <pc:sldLayoutMkLst>
            <pc:docMk/>
            <pc:sldMasterMk cId="566304387" sldId="2147484671"/>
            <pc:sldLayoutMk cId="1010524834" sldId="214748467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22" v="567" actId="2696"/>
          <pc:sldLayoutMkLst>
            <pc:docMk/>
            <pc:sldMasterMk cId="566304387" sldId="2147484671"/>
            <pc:sldLayoutMk cId="1882571258" sldId="214748467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24" v="568" actId="2696"/>
          <pc:sldLayoutMkLst>
            <pc:docMk/>
            <pc:sldMasterMk cId="566304387" sldId="2147484671"/>
            <pc:sldLayoutMk cId="2358258693" sldId="214748467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25" v="569" actId="2696"/>
          <pc:sldLayoutMkLst>
            <pc:docMk/>
            <pc:sldMasterMk cId="566304387" sldId="2147484671"/>
            <pc:sldLayoutMk cId="2016286589" sldId="214748467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29" v="570" actId="2696"/>
          <pc:sldLayoutMkLst>
            <pc:docMk/>
            <pc:sldMasterMk cId="566304387" sldId="2147484671"/>
            <pc:sldLayoutMk cId="3579414553" sldId="214748468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33" v="571" actId="2696"/>
          <pc:sldLayoutMkLst>
            <pc:docMk/>
            <pc:sldMasterMk cId="566304387" sldId="2147484671"/>
            <pc:sldLayoutMk cId="2266062979" sldId="214748468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38" v="572" actId="2696"/>
          <pc:sldLayoutMkLst>
            <pc:docMk/>
            <pc:sldMasterMk cId="566304387" sldId="2147484671"/>
            <pc:sldLayoutMk cId="511557914" sldId="214748468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40" v="573" actId="2696"/>
          <pc:sldLayoutMkLst>
            <pc:docMk/>
            <pc:sldMasterMk cId="566304387" sldId="2147484671"/>
            <pc:sldLayoutMk cId="621033265" sldId="214748468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43" v="574" actId="2696"/>
          <pc:sldLayoutMkLst>
            <pc:docMk/>
            <pc:sldMasterMk cId="566304387" sldId="2147484671"/>
            <pc:sldLayoutMk cId="687385256" sldId="214748468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46" v="575" actId="2696"/>
          <pc:sldLayoutMkLst>
            <pc:docMk/>
            <pc:sldMasterMk cId="566304387" sldId="2147484671"/>
            <pc:sldLayoutMk cId="142156199" sldId="214748468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49" v="576" actId="2696"/>
          <pc:sldLayoutMkLst>
            <pc:docMk/>
            <pc:sldMasterMk cId="566304387" sldId="2147484671"/>
            <pc:sldLayoutMk cId="2698952709" sldId="214748468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53" v="577" actId="2696"/>
          <pc:sldLayoutMkLst>
            <pc:docMk/>
            <pc:sldMasterMk cId="566304387" sldId="2147484671"/>
            <pc:sldLayoutMk cId="2143605642" sldId="214748468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57" v="578" actId="2696"/>
          <pc:sldLayoutMkLst>
            <pc:docMk/>
            <pc:sldMasterMk cId="566304387" sldId="2147484671"/>
            <pc:sldLayoutMk cId="3670330719" sldId="214748468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60" v="579" actId="2696"/>
          <pc:sldLayoutMkLst>
            <pc:docMk/>
            <pc:sldMasterMk cId="566304387" sldId="2147484671"/>
            <pc:sldLayoutMk cId="1117060454" sldId="214748468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62" v="580" actId="2696"/>
          <pc:sldLayoutMkLst>
            <pc:docMk/>
            <pc:sldMasterMk cId="566304387" sldId="2147484671"/>
            <pc:sldLayoutMk cId="2421843799" sldId="214748469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64" v="581" actId="2696"/>
          <pc:sldLayoutMkLst>
            <pc:docMk/>
            <pc:sldMasterMk cId="566304387" sldId="2147484671"/>
            <pc:sldLayoutMk cId="909947508" sldId="214748469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65" v="582" actId="2696"/>
          <pc:sldLayoutMkLst>
            <pc:docMk/>
            <pc:sldMasterMk cId="566304387" sldId="2147484671"/>
            <pc:sldLayoutMk cId="620246009" sldId="214748469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68" v="583" actId="2696"/>
          <pc:sldLayoutMkLst>
            <pc:docMk/>
            <pc:sldMasterMk cId="566304387" sldId="2147484671"/>
            <pc:sldLayoutMk cId="3644878721" sldId="214748469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71" v="584" actId="2696"/>
          <pc:sldLayoutMkLst>
            <pc:docMk/>
            <pc:sldMasterMk cId="566304387" sldId="2147484671"/>
            <pc:sldLayoutMk cId="2430311265" sldId="214748469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73" v="585" actId="2696"/>
          <pc:sldLayoutMkLst>
            <pc:docMk/>
            <pc:sldMasterMk cId="566304387" sldId="2147484671"/>
            <pc:sldLayoutMk cId="722487318" sldId="214748469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75" v="586" actId="2696"/>
          <pc:sldLayoutMkLst>
            <pc:docMk/>
            <pc:sldMasterMk cId="566304387" sldId="2147484671"/>
            <pc:sldLayoutMk cId="613041964" sldId="214748469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78" v="587" actId="2696"/>
          <pc:sldLayoutMkLst>
            <pc:docMk/>
            <pc:sldMasterMk cId="566304387" sldId="2147484671"/>
            <pc:sldLayoutMk cId="389631406" sldId="214748469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81" v="588" actId="2696"/>
          <pc:sldLayoutMkLst>
            <pc:docMk/>
            <pc:sldMasterMk cId="566304387" sldId="2147484671"/>
            <pc:sldLayoutMk cId="1483728761" sldId="214748469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83" v="589" actId="2696"/>
          <pc:sldLayoutMkLst>
            <pc:docMk/>
            <pc:sldMasterMk cId="566304387" sldId="2147484671"/>
            <pc:sldLayoutMk cId="4242521655" sldId="214748469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86" v="590" actId="2696"/>
          <pc:sldLayoutMkLst>
            <pc:docMk/>
            <pc:sldMasterMk cId="566304387" sldId="2147484671"/>
            <pc:sldLayoutMk cId="3314814323" sldId="214748470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89" v="591" actId="2696"/>
          <pc:sldLayoutMkLst>
            <pc:docMk/>
            <pc:sldMasterMk cId="566304387" sldId="2147484671"/>
            <pc:sldLayoutMk cId="329443299" sldId="214748470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92" v="592" actId="2696"/>
          <pc:sldLayoutMkLst>
            <pc:docMk/>
            <pc:sldMasterMk cId="566304387" sldId="2147484671"/>
            <pc:sldLayoutMk cId="2156569698" sldId="214748470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2.194" v="593" actId="2696"/>
          <pc:sldLayoutMkLst>
            <pc:docMk/>
            <pc:sldMasterMk cId="566304387" sldId="2147484671"/>
            <pc:sldLayoutMk cId="3285452036" sldId="2147484703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1.488" v="466" actId="2696"/>
        <pc:sldMasterMkLst>
          <pc:docMk/>
          <pc:sldMasterMk cId="1129912890" sldId="2147484704"/>
        </pc:sldMasterMkLst>
        <pc:sldLayoutChg chg="del">
          <pc:chgData name="Iker Beguiristain Armendaritz" userId="2e916005-fdeb-489c-b2b0-a9a7c20d41d0" providerId="ADAL" clId="{890EFAFB-A238-4A37-9E11-7C38AC7E6396}" dt="2022-02-04T12:44:51.334" v="434" actId="2696"/>
          <pc:sldLayoutMkLst>
            <pc:docMk/>
            <pc:sldMasterMk cId="1129912890" sldId="2147484704"/>
            <pc:sldLayoutMk cId="982156788" sldId="214748470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341" v="435" actId="2696"/>
          <pc:sldLayoutMkLst>
            <pc:docMk/>
            <pc:sldMasterMk cId="1129912890" sldId="2147484704"/>
            <pc:sldLayoutMk cId="3785804292" sldId="214748470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348" v="436" actId="2696"/>
          <pc:sldLayoutMkLst>
            <pc:docMk/>
            <pc:sldMasterMk cId="1129912890" sldId="2147484704"/>
            <pc:sldLayoutMk cId="161889164" sldId="214748470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373" v="437" actId="2696"/>
          <pc:sldLayoutMkLst>
            <pc:docMk/>
            <pc:sldMasterMk cId="1129912890" sldId="2147484704"/>
            <pc:sldLayoutMk cId="1631164034" sldId="214748470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15" v="438" actId="2696"/>
          <pc:sldLayoutMkLst>
            <pc:docMk/>
            <pc:sldMasterMk cId="1129912890" sldId="2147484704"/>
            <pc:sldLayoutMk cId="3415926102" sldId="214748470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17" v="439" actId="2696"/>
          <pc:sldLayoutMkLst>
            <pc:docMk/>
            <pc:sldMasterMk cId="1129912890" sldId="2147484704"/>
            <pc:sldLayoutMk cId="1548401853" sldId="214748471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19" v="440" actId="2696"/>
          <pc:sldLayoutMkLst>
            <pc:docMk/>
            <pc:sldMasterMk cId="1129912890" sldId="2147484704"/>
            <pc:sldLayoutMk cId="3398769555" sldId="214748471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20" v="441" actId="2696"/>
          <pc:sldLayoutMkLst>
            <pc:docMk/>
            <pc:sldMasterMk cId="1129912890" sldId="2147484704"/>
            <pc:sldLayoutMk cId="3950497570" sldId="214748471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23" v="442" actId="2696"/>
          <pc:sldLayoutMkLst>
            <pc:docMk/>
            <pc:sldMasterMk cId="1129912890" sldId="2147484704"/>
            <pc:sldLayoutMk cId="3077404619" sldId="214748471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25" v="443" actId="2696"/>
          <pc:sldLayoutMkLst>
            <pc:docMk/>
            <pc:sldMasterMk cId="1129912890" sldId="2147484704"/>
            <pc:sldLayoutMk cId="598265470" sldId="214748471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29" v="444" actId="2696"/>
          <pc:sldLayoutMkLst>
            <pc:docMk/>
            <pc:sldMasterMk cId="1129912890" sldId="2147484704"/>
            <pc:sldLayoutMk cId="92123955" sldId="214748471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31" v="445" actId="2696"/>
          <pc:sldLayoutMkLst>
            <pc:docMk/>
            <pc:sldMasterMk cId="1129912890" sldId="2147484704"/>
            <pc:sldLayoutMk cId="3469323245" sldId="214748471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33" v="446" actId="2696"/>
          <pc:sldLayoutMkLst>
            <pc:docMk/>
            <pc:sldMasterMk cId="1129912890" sldId="2147484704"/>
            <pc:sldLayoutMk cId="1683411545" sldId="214748471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35" v="447" actId="2696"/>
          <pc:sldLayoutMkLst>
            <pc:docMk/>
            <pc:sldMasterMk cId="1129912890" sldId="2147484704"/>
            <pc:sldLayoutMk cId="857767470" sldId="214748471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37" v="448" actId="2696"/>
          <pc:sldLayoutMkLst>
            <pc:docMk/>
            <pc:sldMasterMk cId="1129912890" sldId="2147484704"/>
            <pc:sldLayoutMk cId="398343773" sldId="214748471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40" v="449" actId="2696"/>
          <pc:sldLayoutMkLst>
            <pc:docMk/>
            <pc:sldMasterMk cId="1129912890" sldId="2147484704"/>
            <pc:sldLayoutMk cId="519374457" sldId="214748472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42" v="450" actId="2696"/>
          <pc:sldLayoutMkLst>
            <pc:docMk/>
            <pc:sldMasterMk cId="1129912890" sldId="2147484704"/>
            <pc:sldLayoutMk cId="2641685237" sldId="214748472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45" v="451" actId="2696"/>
          <pc:sldLayoutMkLst>
            <pc:docMk/>
            <pc:sldMasterMk cId="1129912890" sldId="2147484704"/>
            <pc:sldLayoutMk cId="1570613644" sldId="214748472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48" v="452" actId="2696"/>
          <pc:sldLayoutMkLst>
            <pc:docMk/>
            <pc:sldMasterMk cId="1129912890" sldId="2147484704"/>
            <pc:sldLayoutMk cId="2581877242" sldId="214748472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49" v="453" actId="2696"/>
          <pc:sldLayoutMkLst>
            <pc:docMk/>
            <pc:sldMasterMk cId="1129912890" sldId="2147484704"/>
            <pc:sldLayoutMk cId="3701885513" sldId="214748472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51" v="454" actId="2696"/>
          <pc:sldLayoutMkLst>
            <pc:docMk/>
            <pc:sldMasterMk cId="1129912890" sldId="2147484704"/>
            <pc:sldLayoutMk cId="670781263" sldId="214748472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53" v="455" actId="2696"/>
          <pc:sldLayoutMkLst>
            <pc:docMk/>
            <pc:sldMasterMk cId="1129912890" sldId="2147484704"/>
            <pc:sldLayoutMk cId="602206743" sldId="214748472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54" v="456" actId="2696"/>
          <pc:sldLayoutMkLst>
            <pc:docMk/>
            <pc:sldMasterMk cId="1129912890" sldId="2147484704"/>
            <pc:sldLayoutMk cId="232963564" sldId="214748472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56" v="457" actId="2696"/>
          <pc:sldLayoutMkLst>
            <pc:docMk/>
            <pc:sldMasterMk cId="1129912890" sldId="2147484704"/>
            <pc:sldLayoutMk cId="636957169" sldId="214748472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58" v="458" actId="2696"/>
          <pc:sldLayoutMkLst>
            <pc:docMk/>
            <pc:sldMasterMk cId="1129912890" sldId="2147484704"/>
            <pc:sldLayoutMk cId="891586489" sldId="214748472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59" v="459" actId="2696"/>
          <pc:sldLayoutMkLst>
            <pc:docMk/>
            <pc:sldMasterMk cId="1129912890" sldId="2147484704"/>
            <pc:sldLayoutMk cId="3124556814" sldId="214748473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60" v="460" actId="2696"/>
          <pc:sldLayoutMkLst>
            <pc:docMk/>
            <pc:sldMasterMk cId="1129912890" sldId="2147484704"/>
            <pc:sldLayoutMk cId="2165253027" sldId="214748473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62" v="461" actId="2696"/>
          <pc:sldLayoutMkLst>
            <pc:docMk/>
            <pc:sldMasterMk cId="1129912890" sldId="2147484704"/>
            <pc:sldLayoutMk cId="3259160204" sldId="214748473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63" v="462" actId="2696"/>
          <pc:sldLayoutMkLst>
            <pc:docMk/>
            <pc:sldMasterMk cId="1129912890" sldId="2147484704"/>
            <pc:sldLayoutMk cId="4273261100" sldId="214748473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64" v="463" actId="2696"/>
          <pc:sldLayoutMkLst>
            <pc:docMk/>
            <pc:sldMasterMk cId="1129912890" sldId="2147484704"/>
            <pc:sldLayoutMk cId="1205534515" sldId="214748473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66" v="464" actId="2696"/>
          <pc:sldLayoutMkLst>
            <pc:docMk/>
            <pc:sldMasterMk cId="1129912890" sldId="2147484704"/>
            <pc:sldLayoutMk cId="2353397985" sldId="214748473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467" v="465" actId="2696"/>
          <pc:sldLayoutMkLst>
            <pc:docMk/>
            <pc:sldMasterMk cId="1129912890" sldId="2147484704"/>
            <pc:sldLayoutMk cId="356150449" sldId="2147484736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0.479" v="289" actId="2696"/>
        <pc:sldMasterMkLst>
          <pc:docMk/>
          <pc:sldMasterMk cId="2479692350" sldId="2147484737"/>
        </pc:sldMasterMkLst>
        <pc:sldLayoutChg chg="del">
          <pc:chgData name="Iker Beguiristain Armendaritz" userId="2e916005-fdeb-489c-b2b0-a9a7c20d41d0" providerId="ADAL" clId="{890EFAFB-A238-4A37-9E11-7C38AC7E6396}" dt="2022-02-04T12:44:50.416" v="283" actId="2696"/>
          <pc:sldLayoutMkLst>
            <pc:docMk/>
            <pc:sldMasterMk cId="2479692350" sldId="2147484737"/>
            <pc:sldLayoutMk cId="714753686" sldId="214748473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420" v="284" actId="2696"/>
          <pc:sldLayoutMkLst>
            <pc:docMk/>
            <pc:sldMasterMk cId="2479692350" sldId="2147484737"/>
            <pc:sldLayoutMk cId="28517262" sldId="214748473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426" v="285" actId="2696"/>
          <pc:sldLayoutMkLst>
            <pc:docMk/>
            <pc:sldMasterMk cId="2479692350" sldId="2147484737"/>
            <pc:sldLayoutMk cId="884194439" sldId="214748474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430" v="286" actId="2696"/>
          <pc:sldLayoutMkLst>
            <pc:docMk/>
            <pc:sldMasterMk cId="2479692350" sldId="2147484737"/>
            <pc:sldLayoutMk cId="1778199716" sldId="214748474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434" v="287" actId="2696"/>
          <pc:sldLayoutMkLst>
            <pc:docMk/>
            <pc:sldMasterMk cId="2479692350" sldId="2147484737"/>
            <pc:sldLayoutMk cId="2562447100" sldId="214748474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438" v="288" actId="2696"/>
          <pc:sldLayoutMkLst>
            <pc:docMk/>
            <pc:sldMasterMk cId="2479692350" sldId="2147484737"/>
            <pc:sldLayoutMk cId="2413305650" sldId="2147484743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1.133" v="399" actId="2696"/>
        <pc:sldMasterMkLst>
          <pc:docMk/>
          <pc:sldMasterMk cId="3937045175" sldId="2147484744"/>
        </pc:sldMasterMkLst>
        <pc:sldLayoutChg chg="del">
          <pc:chgData name="Iker Beguiristain Armendaritz" userId="2e916005-fdeb-489c-b2b0-a9a7c20d41d0" providerId="ADAL" clId="{890EFAFB-A238-4A37-9E11-7C38AC7E6396}" dt="2022-02-04T12:44:51.059" v="384" actId="2696"/>
          <pc:sldLayoutMkLst>
            <pc:docMk/>
            <pc:sldMasterMk cId="3937045175" sldId="2147484744"/>
            <pc:sldLayoutMk cId="1738583377" sldId="214748474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63" v="385" actId="2696"/>
          <pc:sldLayoutMkLst>
            <pc:docMk/>
            <pc:sldMasterMk cId="3937045175" sldId="2147484744"/>
            <pc:sldLayoutMk cId="1447828766" sldId="214748474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66" v="386" actId="2696"/>
          <pc:sldLayoutMkLst>
            <pc:docMk/>
            <pc:sldMasterMk cId="3937045175" sldId="2147484744"/>
            <pc:sldLayoutMk cId="502843587" sldId="214748474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70" v="387" actId="2696"/>
          <pc:sldLayoutMkLst>
            <pc:docMk/>
            <pc:sldMasterMk cId="3937045175" sldId="2147484744"/>
            <pc:sldLayoutMk cId="3154467360" sldId="214748474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74" v="388" actId="2696"/>
          <pc:sldLayoutMkLst>
            <pc:docMk/>
            <pc:sldMasterMk cId="3937045175" sldId="2147484744"/>
            <pc:sldLayoutMk cId="1000476811" sldId="214748474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76" v="389" actId="2696"/>
          <pc:sldLayoutMkLst>
            <pc:docMk/>
            <pc:sldMasterMk cId="3937045175" sldId="2147484744"/>
            <pc:sldLayoutMk cId="130227649" sldId="214748475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78" v="390" actId="2696"/>
          <pc:sldLayoutMkLst>
            <pc:docMk/>
            <pc:sldMasterMk cId="3937045175" sldId="2147484744"/>
            <pc:sldLayoutMk cId="2690366547" sldId="214748475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80" v="391" actId="2696"/>
          <pc:sldLayoutMkLst>
            <pc:docMk/>
            <pc:sldMasterMk cId="3937045175" sldId="2147484744"/>
            <pc:sldLayoutMk cId="2231047885" sldId="214748475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82" v="392" actId="2696"/>
          <pc:sldLayoutMkLst>
            <pc:docMk/>
            <pc:sldMasterMk cId="3937045175" sldId="2147484744"/>
            <pc:sldLayoutMk cId="926318767" sldId="214748475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84" v="393" actId="2696"/>
          <pc:sldLayoutMkLst>
            <pc:docMk/>
            <pc:sldMasterMk cId="3937045175" sldId="2147484744"/>
            <pc:sldLayoutMk cId="204930787" sldId="214748475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87" v="394" actId="2696"/>
          <pc:sldLayoutMkLst>
            <pc:docMk/>
            <pc:sldMasterMk cId="3937045175" sldId="2147484744"/>
            <pc:sldLayoutMk cId="698115574" sldId="214748475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88" v="395" actId="2696"/>
          <pc:sldLayoutMkLst>
            <pc:docMk/>
            <pc:sldMasterMk cId="3937045175" sldId="2147484744"/>
            <pc:sldLayoutMk cId="3183477517" sldId="214748475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92" v="396" actId="2696"/>
          <pc:sldLayoutMkLst>
            <pc:docMk/>
            <pc:sldMasterMk cId="3937045175" sldId="2147484744"/>
            <pc:sldLayoutMk cId="1065878677" sldId="214748475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95" v="397" actId="2696"/>
          <pc:sldLayoutMkLst>
            <pc:docMk/>
            <pc:sldMasterMk cId="3937045175" sldId="2147484744"/>
            <pc:sldLayoutMk cId="3075304606" sldId="214748475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99" v="398" actId="2696"/>
          <pc:sldLayoutMkLst>
            <pc:docMk/>
            <pc:sldMasterMk cId="3937045175" sldId="2147484744"/>
            <pc:sldLayoutMk cId="1213661461" sldId="2147484759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48.692" v="8" actId="2696"/>
        <pc:sldMasterMkLst>
          <pc:docMk/>
          <pc:sldMasterMk cId="1952644855" sldId="2147484760"/>
        </pc:sldMasterMkLst>
        <pc:sldLayoutChg chg="del">
          <pc:chgData name="Iker Beguiristain Armendaritz" userId="2e916005-fdeb-489c-b2b0-a9a7c20d41d0" providerId="ADAL" clId="{890EFAFB-A238-4A37-9E11-7C38AC7E6396}" dt="2022-02-04T12:44:48.557" v="5" actId="2696"/>
          <pc:sldLayoutMkLst>
            <pc:docMk/>
            <pc:sldMasterMk cId="1952644855" sldId="2147484760"/>
            <pc:sldLayoutMk cId="3188509267" sldId="214748476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567" v="6" actId="2696"/>
          <pc:sldLayoutMkLst>
            <pc:docMk/>
            <pc:sldMasterMk cId="1952644855" sldId="2147484760"/>
            <pc:sldLayoutMk cId="1751220193" sldId="214748476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583" v="7" actId="2696"/>
          <pc:sldLayoutMkLst>
            <pc:docMk/>
            <pc:sldMasterMk cId="1952644855" sldId="2147484760"/>
            <pc:sldLayoutMk cId="3417780713" sldId="2147484764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49.514" v="137" actId="2696"/>
        <pc:sldMasterMkLst>
          <pc:docMk/>
          <pc:sldMasterMk cId="1786193377" sldId="2147484765"/>
        </pc:sldMasterMkLst>
        <pc:sldLayoutChg chg="del">
          <pc:chgData name="Iker Beguiristain Armendaritz" userId="2e916005-fdeb-489c-b2b0-a9a7c20d41d0" providerId="ADAL" clId="{890EFAFB-A238-4A37-9E11-7C38AC7E6396}" dt="2022-02-04T12:44:49.366" v="108" actId="2696"/>
          <pc:sldLayoutMkLst>
            <pc:docMk/>
            <pc:sldMasterMk cId="1786193377" sldId="2147484765"/>
            <pc:sldLayoutMk cId="3814984760" sldId="214748476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70" v="109" actId="2696"/>
          <pc:sldLayoutMkLst>
            <pc:docMk/>
            <pc:sldMasterMk cId="1786193377" sldId="2147484765"/>
            <pc:sldLayoutMk cId="3991216668" sldId="214748476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73" v="110" actId="2696"/>
          <pc:sldLayoutMkLst>
            <pc:docMk/>
            <pc:sldMasterMk cId="1786193377" sldId="2147484765"/>
            <pc:sldLayoutMk cId="1078554192" sldId="214748476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76" v="111" actId="2696"/>
          <pc:sldLayoutMkLst>
            <pc:docMk/>
            <pc:sldMasterMk cId="1786193377" sldId="2147484765"/>
            <pc:sldLayoutMk cId="2252424965" sldId="214748476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79" v="112" actId="2696"/>
          <pc:sldLayoutMkLst>
            <pc:docMk/>
            <pc:sldMasterMk cId="1786193377" sldId="2147484765"/>
            <pc:sldLayoutMk cId="3632803334" sldId="214748477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83" v="113" actId="2696"/>
          <pc:sldLayoutMkLst>
            <pc:docMk/>
            <pc:sldMasterMk cId="1786193377" sldId="2147484765"/>
            <pc:sldLayoutMk cId="2887590955" sldId="214748477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85" v="114" actId="2696"/>
          <pc:sldLayoutMkLst>
            <pc:docMk/>
            <pc:sldMasterMk cId="1786193377" sldId="2147484765"/>
            <pc:sldLayoutMk cId="2277034048" sldId="214748477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87" v="115" actId="2696"/>
          <pc:sldLayoutMkLst>
            <pc:docMk/>
            <pc:sldMasterMk cId="1786193377" sldId="2147484765"/>
            <pc:sldLayoutMk cId="2493650176" sldId="214748477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98" v="116" actId="2696"/>
          <pc:sldLayoutMkLst>
            <pc:docMk/>
            <pc:sldMasterMk cId="1786193377" sldId="2147484765"/>
            <pc:sldLayoutMk cId="1539655701" sldId="214748477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24" v="117" actId="2696"/>
          <pc:sldLayoutMkLst>
            <pc:docMk/>
            <pc:sldMasterMk cId="1786193377" sldId="2147484765"/>
            <pc:sldLayoutMk cId="1174830662" sldId="214748477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47" v="118" actId="2696"/>
          <pc:sldLayoutMkLst>
            <pc:docMk/>
            <pc:sldMasterMk cId="1786193377" sldId="2147484765"/>
            <pc:sldLayoutMk cId="2646649145" sldId="214748477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50" v="119" actId="2696"/>
          <pc:sldLayoutMkLst>
            <pc:docMk/>
            <pc:sldMasterMk cId="1786193377" sldId="2147484765"/>
            <pc:sldLayoutMk cId="2300794191" sldId="214748477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52" v="120" actId="2696"/>
          <pc:sldLayoutMkLst>
            <pc:docMk/>
            <pc:sldMasterMk cId="1786193377" sldId="2147484765"/>
            <pc:sldLayoutMk cId="4152965781" sldId="214748477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54" v="121" actId="2696"/>
          <pc:sldLayoutMkLst>
            <pc:docMk/>
            <pc:sldMasterMk cId="1786193377" sldId="2147484765"/>
            <pc:sldLayoutMk cId="2577866899" sldId="214748477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56" v="122" actId="2696"/>
          <pc:sldLayoutMkLst>
            <pc:docMk/>
            <pc:sldMasterMk cId="1786193377" sldId="2147484765"/>
            <pc:sldLayoutMk cId="2039914782" sldId="214748478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59" v="123" actId="2696"/>
          <pc:sldLayoutMkLst>
            <pc:docMk/>
            <pc:sldMasterMk cId="1786193377" sldId="2147484765"/>
            <pc:sldLayoutMk cId="4027482892" sldId="214748478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61" v="124" actId="2696"/>
          <pc:sldLayoutMkLst>
            <pc:docMk/>
            <pc:sldMasterMk cId="1786193377" sldId="2147484765"/>
            <pc:sldLayoutMk cId="2606356900" sldId="214748478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63" v="125" actId="2696"/>
          <pc:sldLayoutMkLst>
            <pc:docMk/>
            <pc:sldMasterMk cId="1786193377" sldId="2147484765"/>
            <pc:sldLayoutMk cId="1880630800" sldId="214748478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65" v="126" actId="2696"/>
          <pc:sldLayoutMkLst>
            <pc:docMk/>
            <pc:sldMasterMk cId="1786193377" sldId="2147484765"/>
            <pc:sldLayoutMk cId="1885078400" sldId="214748478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68" v="127" actId="2696"/>
          <pc:sldLayoutMkLst>
            <pc:docMk/>
            <pc:sldMasterMk cId="1786193377" sldId="2147484765"/>
            <pc:sldLayoutMk cId="1333665778" sldId="214748478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71" v="128" actId="2696"/>
          <pc:sldLayoutMkLst>
            <pc:docMk/>
            <pc:sldMasterMk cId="1786193377" sldId="2147484765"/>
            <pc:sldLayoutMk cId="3719008655" sldId="214748478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74" v="129" actId="2696"/>
          <pc:sldLayoutMkLst>
            <pc:docMk/>
            <pc:sldMasterMk cId="1786193377" sldId="2147484765"/>
            <pc:sldLayoutMk cId="1120153574" sldId="214748478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76" v="130" actId="2696"/>
          <pc:sldLayoutMkLst>
            <pc:docMk/>
            <pc:sldMasterMk cId="1786193377" sldId="2147484765"/>
            <pc:sldLayoutMk cId="2644707034" sldId="214748478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78" v="131" actId="2696"/>
          <pc:sldLayoutMkLst>
            <pc:docMk/>
            <pc:sldMasterMk cId="1786193377" sldId="2147484765"/>
            <pc:sldLayoutMk cId="3840460363" sldId="214748478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80" v="132" actId="2696"/>
          <pc:sldLayoutMkLst>
            <pc:docMk/>
            <pc:sldMasterMk cId="1786193377" sldId="2147484765"/>
            <pc:sldLayoutMk cId="557971580" sldId="214748479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82" v="133" actId="2696"/>
          <pc:sldLayoutMkLst>
            <pc:docMk/>
            <pc:sldMasterMk cId="1786193377" sldId="2147484765"/>
            <pc:sldLayoutMk cId="3109281601" sldId="214748479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84" v="134" actId="2696"/>
          <pc:sldLayoutMkLst>
            <pc:docMk/>
            <pc:sldMasterMk cId="1786193377" sldId="2147484765"/>
            <pc:sldLayoutMk cId="2624347836" sldId="214748479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86" v="135" actId="2696"/>
          <pc:sldLayoutMkLst>
            <pc:docMk/>
            <pc:sldMasterMk cId="1786193377" sldId="2147484765"/>
            <pc:sldLayoutMk cId="352818846" sldId="214748479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488" v="136" actId="2696"/>
          <pc:sldLayoutMkLst>
            <pc:docMk/>
            <pc:sldMasterMk cId="1786193377" sldId="2147484765"/>
            <pc:sldLayoutMk cId="2857568196" sldId="2147484794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1.792" v="527" actId="2696"/>
        <pc:sldMasterMkLst>
          <pc:docMk/>
          <pc:sldMasterMk cId="418831937" sldId="2147484796"/>
        </pc:sldMasterMkLst>
        <pc:sldLayoutChg chg="del">
          <pc:chgData name="Iker Beguiristain Armendaritz" userId="2e916005-fdeb-489c-b2b0-a9a7c20d41d0" providerId="ADAL" clId="{890EFAFB-A238-4A37-9E11-7C38AC7E6396}" dt="2022-02-04T12:44:51.625" v="497" actId="2696"/>
          <pc:sldLayoutMkLst>
            <pc:docMk/>
            <pc:sldMasterMk cId="418831937" sldId="2147484796"/>
            <pc:sldLayoutMk cId="177971484" sldId="214748479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27" v="498" actId="2696"/>
          <pc:sldLayoutMkLst>
            <pc:docMk/>
            <pc:sldMasterMk cId="418831937" sldId="2147484796"/>
            <pc:sldLayoutMk cId="3411014566" sldId="214748479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28" v="499" actId="2696"/>
          <pc:sldLayoutMkLst>
            <pc:docMk/>
            <pc:sldMasterMk cId="418831937" sldId="2147484796"/>
            <pc:sldLayoutMk cId="1714765655" sldId="214748479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30" v="500" actId="2696"/>
          <pc:sldLayoutMkLst>
            <pc:docMk/>
            <pc:sldMasterMk cId="418831937" sldId="2147484796"/>
            <pc:sldLayoutMk cId="947626638" sldId="214748480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32" v="501" actId="2696"/>
          <pc:sldLayoutMkLst>
            <pc:docMk/>
            <pc:sldMasterMk cId="418831937" sldId="2147484796"/>
            <pc:sldLayoutMk cId="1463442766" sldId="214748480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33" v="502" actId="2696"/>
          <pc:sldLayoutMkLst>
            <pc:docMk/>
            <pc:sldMasterMk cId="418831937" sldId="2147484796"/>
            <pc:sldLayoutMk cId="2690568289" sldId="214748480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35" v="503" actId="2696"/>
          <pc:sldLayoutMkLst>
            <pc:docMk/>
            <pc:sldMasterMk cId="418831937" sldId="2147484796"/>
            <pc:sldLayoutMk cId="2031808121" sldId="214748480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36" v="504" actId="2696"/>
          <pc:sldLayoutMkLst>
            <pc:docMk/>
            <pc:sldMasterMk cId="418831937" sldId="2147484796"/>
            <pc:sldLayoutMk cId="1333171320" sldId="214748480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44" v="505" actId="2696"/>
          <pc:sldLayoutMkLst>
            <pc:docMk/>
            <pc:sldMasterMk cId="418831937" sldId="2147484796"/>
            <pc:sldLayoutMk cId="2182498964" sldId="214748480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65" v="506" actId="2696"/>
          <pc:sldLayoutMkLst>
            <pc:docMk/>
            <pc:sldMasterMk cId="418831937" sldId="2147484796"/>
            <pc:sldLayoutMk cId="2676040328" sldId="214748480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92" v="507" actId="2696"/>
          <pc:sldLayoutMkLst>
            <pc:docMk/>
            <pc:sldMasterMk cId="418831937" sldId="2147484796"/>
            <pc:sldLayoutMk cId="3072852514" sldId="214748480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94" v="508" actId="2696"/>
          <pc:sldLayoutMkLst>
            <pc:docMk/>
            <pc:sldMasterMk cId="418831937" sldId="2147484796"/>
            <pc:sldLayoutMk cId="1948124635" sldId="214748480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96" v="509" actId="2696"/>
          <pc:sldLayoutMkLst>
            <pc:docMk/>
            <pc:sldMasterMk cId="418831937" sldId="2147484796"/>
            <pc:sldLayoutMk cId="2487548268" sldId="214748480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699" v="510" actId="2696"/>
          <pc:sldLayoutMkLst>
            <pc:docMk/>
            <pc:sldMasterMk cId="418831937" sldId="2147484796"/>
            <pc:sldLayoutMk cId="668733938" sldId="214748481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02" v="511" actId="2696"/>
          <pc:sldLayoutMkLst>
            <pc:docMk/>
            <pc:sldMasterMk cId="418831937" sldId="2147484796"/>
            <pc:sldLayoutMk cId="1380852679" sldId="214748481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05" v="512" actId="2696"/>
          <pc:sldLayoutMkLst>
            <pc:docMk/>
            <pc:sldMasterMk cId="418831937" sldId="2147484796"/>
            <pc:sldLayoutMk cId="4255941967" sldId="214748481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09" v="513" actId="2696"/>
          <pc:sldLayoutMkLst>
            <pc:docMk/>
            <pc:sldMasterMk cId="418831937" sldId="2147484796"/>
            <pc:sldLayoutMk cId="794064296" sldId="214748481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11" v="514" actId="2696"/>
          <pc:sldLayoutMkLst>
            <pc:docMk/>
            <pc:sldMasterMk cId="418831937" sldId="2147484796"/>
            <pc:sldLayoutMk cId="148408678" sldId="214748481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14" v="515" actId="2696"/>
          <pc:sldLayoutMkLst>
            <pc:docMk/>
            <pc:sldMasterMk cId="418831937" sldId="2147484796"/>
            <pc:sldLayoutMk cId="492593743" sldId="214748481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19" v="516" actId="2696"/>
          <pc:sldLayoutMkLst>
            <pc:docMk/>
            <pc:sldMasterMk cId="418831937" sldId="2147484796"/>
            <pc:sldLayoutMk cId="541050363" sldId="214748481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22" v="517" actId="2696"/>
          <pc:sldLayoutMkLst>
            <pc:docMk/>
            <pc:sldMasterMk cId="418831937" sldId="2147484796"/>
            <pc:sldLayoutMk cId="1266154103" sldId="214748481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25" v="518" actId="2696"/>
          <pc:sldLayoutMkLst>
            <pc:docMk/>
            <pc:sldMasterMk cId="418831937" sldId="2147484796"/>
            <pc:sldLayoutMk cId="213884718" sldId="214748481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30" v="519" actId="2696"/>
          <pc:sldLayoutMkLst>
            <pc:docMk/>
            <pc:sldMasterMk cId="418831937" sldId="2147484796"/>
            <pc:sldLayoutMk cId="2118567910" sldId="214748481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32" v="520" actId="2696"/>
          <pc:sldLayoutMkLst>
            <pc:docMk/>
            <pc:sldMasterMk cId="418831937" sldId="2147484796"/>
            <pc:sldLayoutMk cId="3234048699" sldId="214748482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36" v="521" actId="2696"/>
          <pc:sldLayoutMkLst>
            <pc:docMk/>
            <pc:sldMasterMk cId="418831937" sldId="2147484796"/>
            <pc:sldLayoutMk cId="605602973" sldId="214748482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38" v="522" actId="2696"/>
          <pc:sldLayoutMkLst>
            <pc:docMk/>
            <pc:sldMasterMk cId="418831937" sldId="2147484796"/>
            <pc:sldLayoutMk cId="863659064" sldId="214748482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41" v="523" actId="2696"/>
          <pc:sldLayoutMkLst>
            <pc:docMk/>
            <pc:sldMasterMk cId="418831937" sldId="2147484796"/>
            <pc:sldLayoutMk cId="4126098020" sldId="214748482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43" v="524" actId="2696"/>
          <pc:sldLayoutMkLst>
            <pc:docMk/>
            <pc:sldMasterMk cId="418831937" sldId="2147484796"/>
            <pc:sldLayoutMk cId="1048886914" sldId="214748482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45" v="525" actId="2696"/>
          <pc:sldLayoutMkLst>
            <pc:docMk/>
            <pc:sldMasterMk cId="418831937" sldId="2147484796"/>
            <pc:sldLayoutMk cId="3954415181" sldId="214748482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753" v="526" actId="2696"/>
          <pc:sldLayoutMkLst>
            <pc:docMk/>
            <pc:sldMasterMk cId="418831937" sldId="2147484796"/>
            <pc:sldLayoutMk cId="3281092139" sldId="2147484827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1.056" v="383" actId="2696"/>
        <pc:sldMasterMkLst>
          <pc:docMk/>
          <pc:sldMasterMk cId="3228944116" sldId="2147484828"/>
        </pc:sldMasterMkLst>
        <pc:sldLayoutChg chg="del">
          <pc:chgData name="Iker Beguiristain Armendaritz" userId="2e916005-fdeb-489c-b2b0-a9a7c20d41d0" providerId="ADAL" clId="{890EFAFB-A238-4A37-9E11-7C38AC7E6396}" dt="2022-02-04T12:44:50.846" v="354" actId="2696"/>
          <pc:sldLayoutMkLst>
            <pc:docMk/>
            <pc:sldMasterMk cId="3228944116" sldId="2147484828"/>
            <pc:sldLayoutMk cId="1509721677" sldId="214748482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849" v="355" actId="2696"/>
          <pc:sldLayoutMkLst>
            <pc:docMk/>
            <pc:sldMasterMk cId="3228944116" sldId="2147484828"/>
            <pc:sldLayoutMk cId="2303367425" sldId="214748483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853" v="356" actId="2696"/>
          <pc:sldLayoutMkLst>
            <pc:docMk/>
            <pc:sldMasterMk cId="3228944116" sldId="2147484828"/>
            <pc:sldLayoutMk cId="3686783264" sldId="214748483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856" v="357" actId="2696"/>
          <pc:sldLayoutMkLst>
            <pc:docMk/>
            <pc:sldMasterMk cId="3228944116" sldId="2147484828"/>
            <pc:sldLayoutMk cId="58887477" sldId="214748483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859" v="358" actId="2696"/>
          <pc:sldLayoutMkLst>
            <pc:docMk/>
            <pc:sldMasterMk cId="3228944116" sldId="2147484828"/>
            <pc:sldLayoutMk cId="3109003577" sldId="214748483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863" v="359" actId="2696"/>
          <pc:sldLayoutMkLst>
            <pc:docMk/>
            <pc:sldMasterMk cId="3228944116" sldId="2147484828"/>
            <pc:sldLayoutMk cId="3387550739" sldId="214748483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866" v="360" actId="2696"/>
          <pc:sldLayoutMkLst>
            <pc:docMk/>
            <pc:sldMasterMk cId="3228944116" sldId="2147484828"/>
            <pc:sldLayoutMk cId="3673074873" sldId="214748483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870" v="361" actId="2696"/>
          <pc:sldLayoutMkLst>
            <pc:docMk/>
            <pc:sldMasterMk cId="3228944116" sldId="2147484828"/>
            <pc:sldLayoutMk cId="473589916" sldId="214748483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882" v="362" actId="2696"/>
          <pc:sldLayoutMkLst>
            <pc:docMk/>
            <pc:sldMasterMk cId="3228944116" sldId="2147484828"/>
            <pc:sldLayoutMk cId="1140668055" sldId="214748483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926" v="363" actId="2696"/>
          <pc:sldLayoutMkLst>
            <pc:docMk/>
            <pc:sldMasterMk cId="3228944116" sldId="2147484828"/>
            <pc:sldLayoutMk cId="3231764559" sldId="214748483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974" v="364" actId="2696"/>
          <pc:sldLayoutMkLst>
            <pc:docMk/>
            <pc:sldMasterMk cId="3228944116" sldId="2147484828"/>
            <pc:sldLayoutMk cId="78497088" sldId="214748483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979" v="365" actId="2696"/>
          <pc:sldLayoutMkLst>
            <pc:docMk/>
            <pc:sldMasterMk cId="3228944116" sldId="2147484828"/>
            <pc:sldLayoutMk cId="2055465278" sldId="214748484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983" v="366" actId="2696"/>
          <pc:sldLayoutMkLst>
            <pc:docMk/>
            <pc:sldMasterMk cId="3228944116" sldId="2147484828"/>
            <pc:sldLayoutMk cId="1008293432" sldId="214748484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988" v="367" actId="2696"/>
          <pc:sldLayoutMkLst>
            <pc:docMk/>
            <pc:sldMasterMk cId="3228944116" sldId="2147484828"/>
            <pc:sldLayoutMk cId="2690301752" sldId="214748484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991" v="368" actId="2696"/>
          <pc:sldLayoutMkLst>
            <pc:docMk/>
            <pc:sldMasterMk cId="3228944116" sldId="2147484828"/>
            <pc:sldLayoutMk cId="3648515093" sldId="214748484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994" v="369" actId="2696"/>
          <pc:sldLayoutMkLst>
            <pc:docMk/>
            <pc:sldMasterMk cId="3228944116" sldId="2147484828"/>
            <pc:sldLayoutMk cId="3996932089" sldId="214748484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997" v="370" actId="2696"/>
          <pc:sldLayoutMkLst>
            <pc:docMk/>
            <pc:sldMasterMk cId="3228944116" sldId="2147484828"/>
            <pc:sldLayoutMk cId="3447485407" sldId="214748484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0.999" v="371" actId="2696"/>
          <pc:sldLayoutMkLst>
            <pc:docMk/>
            <pc:sldMasterMk cId="3228944116" sldId="2147484828"/>
            <pc:sldLayoutMk cId="1769100763" sldId="214748484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01" v="372" actId="2696"/>
          <pc:sldLayoutMkLst>
            <pc:docMk/>
            <pc:sldMasterMk cId="3228944116" sldId="2147484828"/>
            <pc:sldLayoutMk cId="627324430" sldId="214748484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03" v="373" actId="2696"/>
          <pc:sldLayoutMkLst>
            <pc:docMk/>
            <pc:sldMasterMk cId="3228944116" sldId="2147484828"/>
            <pc:sldLayoutMk cId="503234612" sldId="214748484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05" v="374" actId="2696"/>
          <pc:sldLayoutMkLst>
            <pc:docMk/>
            <pc:sldMasterMk cId="3228944116" sldId="2147484828"/>
            <pc:sldLayoutMk cId="2641063073" sldId="214748484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07" v="375" actId="2696"/>
          <pc:sldLayoutMkLst>
            <pc:docMk/>
            <pc:sldMasterMk cId="3228944116" sldId="2147484828"/>
            <pc:sldLayoutMk cId="2299410309" sldId="214748485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10" v="376" actId="2696"/>
          <pc:sldLayoutMkLst>
            <pc:docMk/>
            <pc:sldMasterMk cId="3228944116" sldId="2147484828"/>
            <pc:sldLayoutMk cId="1521548978" sldId="214748485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12" v="377" actId="2696"/>
          <pc:sldLayoutMkLst>
            <pc:docMk/>
            <pc:sldMasterMk cId="3228944116" sldId="2147484828"/>
            <pc:sldLayoutMk cId="1994953244" sldId="214748485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15" v="378" actId="2696"/>
          <pc:sldLayoutMkLst>
            <pc:docMk/>
            <pc:sldMasterMk cId="3228944116" sldId="2147484828"/>
            <pc:sldLayoutMk cId="4232811236" sldId="214748485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18" v="379" actId="2696"/>
          <pc:sldLayoutMkLst>
            <pc:docMk/>
            <pc:sldMasterMk cId="3228944116" sldId="2147484828"/>
            <pc:sldLayoutMk cId="349351093" sldId="214748485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21" v="380" actId="2696"/>
          <pc:sldLayoutMkLst>
            <pc:docMk/>
            <pc:sldMasterMk cId="3228944116" sldId="2147484828"/>
            <pc:sldLayoutMk cId="547872682" sldId="214748485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25" v="381" actId="2696"/>
          <pc:sldLayoutMkLst>
            <pc:docMk/>
            <pc:sldMasterMk cId="3228944116" sldId="2147484828"/>
            <pc:sldLayoutMk cId="528554442" sldId="214748485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028" v="382" actId="2696"/>
          <pc:sldLayoutMkLst>
            <pc:docMk/>
            <pc:sldMasterMk cId="3228944116" sldId="2147484828"/>
            <pc:sldLayoutMk cId="648688928" sldId="2147484857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49.995" v="217" actId="2696"/>
        <pc:sldMasterMkLst>
          <pc:docMk/>
          <pc:sldMasterMk cId="1850400531" sldId="2147484859"/>
        </pc:sldMasterMkLst>
        <pc:sldLayoutChg chg="del">
          <pc:chgData name="Iker Beguiristain Armendaritz" userId="2e916005-fdeb-489c-b2b0-a9a7c20d41d0" providerId="ADAL" clId="{890EFAFB-A238-4A37-9E11-7C38AC7E6396}" dt="2022-02-04T12:44:49.752" v="184" actId="2696"/>
          <pc:sldLayoutMkLst>
            <pc:docMk/>
            <pc:sldMasterMk cId="1850400531" sldId="2147484859"/>
            <pc:sldLayoutMk cId="3458191225" sldId="214748486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765" v="185" actId="2696"/>
          <pc:sldLayoutMkLst>
            <pc:docMk/>
            <pc:sldMasterMk cId="1850400531" sldId="2147484859"/>
            <pc:sldLayoutMk cId="3218759732" sldId="214748486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01" v="186" actId="2696"/>
          <pc:sldLayoutMkLst>
            <pc:docMk/>
            <pc:sldMasterMk cId="1850400531" sldId="2147484859"/>
            <pc:sldLayoutMk cId="3575855905" sldId="214748486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51" v="187" actId="2696"/>
          <pc:sldLayoutMkLst>
            <pc:docMk/>
            <pc:sldMasterMk cId="1850400531" sldId="2147484859"/>
            <pc:sldLayoutMk cId="22789928" sldId="214748486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53" v="188" actId="2696"/>
          <pc:sldLayoutMkLst>
            <pc:docMk/>
            <pc:sldMasterMk cId="1850400531" sldId="2147484859"/>
            <pc:sldLayoutMk cId="964396132" sldId="214748486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57" v="189" actId="2696"/>
          <pc:sldLayoutMkLst>
            <pc:docMk/>
            <pc:sldMasterMk cId="1850400531" sldId="2147484859"/>
            <pc:sldLayoutMk cId="2124684529" sldId="214748486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60" v="190" actId="2696"/>
          <pc:sldLayoutMkLst>
            <pc:docMk/>
            <pc:sldMasterMk cId="1850400531" sldId="2147484859"/>
            <pc:sldLayoutMk cId="4191903462" sldId="214748486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63" v="191" actId="2696"/>
          <pc:sldLayoutMkLst>
            <pc:docMk/>
            <pc:sldMasterMk cId="1850400531" sldId="2147484859"/>
            <pc:sldLayoutMk cId="3245392758" sldId="214748486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66" v="192" actId="2696"/>
          <pc:sldLayoutMkLst>
            <pc:docMk/>
            <pc:sldMasterMk cId="1850400531" sldId="2147484859"/>
            <pc:sldLayoutMk cId="4003660416" sldId="214748486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69" v="193" actId="2696"/>
          <pc:sldLayoutMkLst>
            <pc:docMk/>
            <pc:sldMasterMk cId="1850400531" sldId="2147484859"/>
            <pc:sldLayoutMk cId="4266379529" sldId="214748486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71" v="194" actId="2696"/>
          <pc:sldLayoutMkLst>
            <pc:docMk/>
            <pc:sldMasterMk cId="1850400531" sldId="2147484859"/>
            <pc:sldLayoutMk cId="1367470391" sldId="214748487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73" v="195" actId="2696"/>
          <pc:sldLayoutMkLst>
            <pc:docMk/>
            <pc:sldMasterMk cId="1850400531" sldId="2147484859"/>
            <pc:sldLayoutMk cId="3228178857" sldId="214748487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77" v="196" actId="2696"/>
          <pc:sldLayoutMkLst>
            <pc:docMk/>
            <pc:sldMasterMk cId="1850400531" sldId="2147484859"/>
            <pc:sldLayoutMk cId="1931365456" sldId="214748487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79" v="197" actId="2696"/>
          <pc:sldLayoutMkLst>
            <pc:docMk/>
            <pc:sldMasterMk cId="1850400531" sldId="2147484859"/>
            <pc:sldLayoutMk cId="904411440" sldId="214748487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82" v="198" actId="2696"/>
          <pc:sldLayoutMkLst>
            <pc:docMk/>
            <pc:sldMasterMk cId="1850400531" sldId="2147484859"/>
            <pc:sldLayoutMk cId="2190290642" sldId="214748487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85" v="199" actId="2696"/>
          <pc:sldLayoutMkLst>
            <pc:docMk/>
            <pc:sldMasterMk cId="1850400531" sldId="2147484859"/>
            <pc:sldLayoutMk cId="961112576" sldId="214748487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87" v="200" actId="2696"/>
          <pc:sldLayoutMkLst>
            <pc:docMk/>
            <pc:sldMasterMk cId="1850400531" sldId="2147484859"/>
            <pc:sldLayoutMk cId="3149436574" sldId="214748487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90" v="201" actId="2696"/>
          <pc:sldLayoutMkLst>
            <pc:docMk/>
            <pc:sldMasterMk cId="1850400531" sldId="2147484859"/>
            <pc:sldLayoutMk cId="2073443884" sldId="214748487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92" v="202" actId="2696"/>
          <pc:sldLayoutMkLst>
            <pc:docMk/>
            <pc:sldMasterMk cId="1850400531" sldId="2147484859"/>
            <pc:sldLayoutMk cId="4286135013" sldId="214748487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95" v="203" actId="2696"/>
          <pc:sldLayoutMkLst>
            <pc:docMk/>
            <pc:sldMasterMk cId="1850400531" sldId="2147484859"/>
            <pc:sldLayoutMk cId="175713217" sldId="214748487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97" v="204" actId="2696"/>
          <pc:sldLayoutMkLst>
            <pc:docMk/>
            <pc:sldMasterMk cId="1850400531" sldId="2147484859"/>
            <pc:sldLayoutMk cId="3054421832" sldId="214748488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899" v="205" actId="2696"/>
          <pc:sldLayoutMkLst>
            <pc:docMk/>
            <pc:sldMasterMk cId="1850400531" sldId="2147484859"/>
            <pc:sldLayoutMk cId="2798595627" sldId="214748488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903" v="206" actId="2696"/>
          <pc:sldLayoutMkLst>
            <pc:docMk/>
            <pc:sldMasterMk cId="1850400531" sldId="2147484859"/>
            <pc:sldLayoutMk cId="3231206518" sldId="214748488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907" v="207" actId="2696"/>
          <pc:sldLayoutMkLst>
            <pc:docMk/>
            <pc:sldMasterMk cId="1850400531" sldId="2147484859"/>
            <pc:sldLayoutMk cId="3095950460" sldId="214748488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910" v="208" actId="2696"/>
          <pc:sldLayoutMkLst>
            <pc:docMk/>
            <pc:sldMasterMk cId="1850400531" sldId="2147484859"/>
            <pc:sldLayoutMk cId="2482894233" sldId="214748488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914" v="209" actId="2696"/>
          <pc:sldLayoutMkLst>
            <pc:docMk/>
            <pc:sldMasterMk cId="1850400531" sldId="2147484859"/>
            <pc:sldLayoutMk cId="2559166179" sldId="214748488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918" v="210" actId="2696"/>
          <pc:sldLayoutMkLst>
            <pc:docMk/>
            <pc:sldMasterMk cId="1850400531" sldId="2147484859"/>
            <pc:sldLayoutMk cId="570517134" sldId="214748488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920" v="211" actId="2696"/>
          <pc:sldLayoutMkLst>
            <pc:docMk/>
            <pc:sldMasterMk cId="1850400531" sldId="2147484859"/>
            <pc:sldLayoutMk cId="821967316" sldId="214748488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925" v="212" actId="2696"/>
          <pc:sldLayoutMkLst>
            <pc:docMk/>
            <pc:sldMasterMk cId="1850400531" sldId="2147484859"/>
            <pc:sldLayoutMk cId="1631484814" sldId="214748488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928" v="213" actId="2696"/>
          <pc:sldLayoutMkLst>
            <pc:docMk/>
            <pc:sldMasterMk cId="1850400531" sldId="2147484859"/>
            <pc:sldLayoutMk cId="1459705442" sldId="214748488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938" v="214" actId="2696"/>
          <pc:sldLayoutMkLst>
            <pc:docMk/>
            <pc:sldMasterMk cId="1850400531" sldId="2147484859"/>
            <pc:sldLayoutMk cId="2205430327" sldId="214748489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942" v="215" actId="2696"/>
          <pc:sldLayoutMkLst>
            <pc:docMk/>
            <pc:sldMasterMk cId="1850400531" sldId="2147484859"/>
            <pc:sldLayoutMk cId="2763912510" sldId="214748489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944" v="216" actId="2696"/>
          <pc:sldLayoutMkLst>
            <pc:docMk/>
            <pc:sldMasterMk cId="1850400531" sldId="2147484859"/>
            <pc:sldLayoutMk cId="2038948296" sldId="2147484892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49.364" v="107" actId="2696"/>
        <pc:sldMasterMkLst>
          <pc:docMk/>
          <pc:sldMasterMk cId="1834676799" sldId="2147484893"/>
        </pc:sldMasterMkLst>
        <pc:sldLayoutChg chg="del">
          <pc:chgData name="Iker Beguiristain Armendaritz" userId="2e916005-fdeb-489c-b2b0-a9a7c20d41d0" providerId="ADAL" clId="{890EFAFB-A238-4A37-9E11-7C38AC7E6396}" dt="2022-02-04T12:44:49.173" v="74" actId="2696"/>
          <pc:sldLayoutMkLst>
            <pc:docMk/>
            <pc:sldMasterMk cId="1834676799" sldId="2147484893"/>
            <pc:sldLayoutMk cId="1459809934" sldId="214748489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184" v="75" actId="2696"/>
          <pc:sldLayoutMkLst>
            <pc:docMk/>
            <pc:sldMasterMk cId="1834676799" sldId="2147484893"/>
            <pc:sldLayoutMk cId="544778818" sldId="214748489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24" v="76" actId="2696"/>
          <pc:sldLayoutMkLst>
            <pc:docMk/>
            <pc:sldMasterMk cId="1834676799" sldId="2147484893"/>
            <pc:sldLayoutMk cId="3775135800" sldId="214748489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67" v="77" actId="2696"/>
          <pc:sldLayoutMkLst>
            <pc:docMk/>
            <pc:sldMasterMk cId="1834676799" sldId="2147484893"/>
            <pc:sldLayoutMk cId="670412713" sldId="214748489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71" v="78" actId="2696"/>
          <pc:sldLayoutMkLst>
            <pc:docMk/>
            <pc:sldMasterMk cId="1834676799" sldId="2147484893"/>
            <pc:sldLayoutMk cId="89594855" sldId="214748489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74" v="79" actId="2696"/>
          <pc:sldLayoutMkLst>
            <pc:docMk/>
            <pc:sldMasterMk cId="1834676799" sldId="2147484893"/>
            <pc:sldLayoutMk cId="2577101913" sldId="214748489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77" v="80" actId="2696"/>
          <pc:sldLayoutMkLst>
            <pc:docMk/>
            <pc:sldMasterMk cId="1834676799" sldId="2147484893"/>
            <pc:sldLayoutMk cId="3757389685" sldId="214748490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80" v="81" actId="2696"/>
          <pc:sldLayoutMkLst>
            <pc:docMk/>
            <pc:sldMasterMk cId="1834676799" sldId="2147484893"/>
            <pc:sldLayoutMk cId="1776826350" sldId="214748490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82" v="82" actId="2696"/>
          <pc:sldLayoutMkLst>
            <pc:docMk/>
            <pc:sldMasterMk cId="1834676799" sldId="2147484893"/>
            <pc:sldLayoutMk cId="1003427611" sldId="214748490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84" v="83" actId="2696"/>
          <pc:sldLayoutMkLst>
            <pc:docMk/>
            <pc:sldMasterMk cId="1834676799" sldId="2147484893"/>
            <pc:sldLayoutMk cId="3588418986" sldId="214748490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86" v="84" actId="2696"/>
          <pc:sldLayoutMkLst>
            <pc:docMk/>
            <pc:sldMasterMk cId="1834676799" sldId="2147484893"/>
            <pc:sldLayoutMk cId="1648675445" sldId="214748490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89" v="85" actId="2696"/>
          <pc:sldLayoutMkLst>
            <pc:docMk/>
            <pc:sldMasterMk cId="1834676799" sldId="2147484893"/>
            <pc:sldLayoutMk cId="2906981589" sldId="214748490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91" v="86" actId="2696"/>
          <pc:sldLayoutMkLst>
            <pc:docMk/>
            <pc:sldMasterMk cId="1834676799" sldId="2147484893"/>
            <pc:sldLayoutMk cId="3943456861" sldId="214748490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93" v="87" actId="2696"/>
          <pc:sldLayoutMkLst>
            <pc:docMk/>
            <pc:sldMasterMk cId="1834676799" sldId="2147484893"/>
            <pc:sldLayoutMk cId="1147423366" sldId="214748490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95" v="88" actId="2696"/>
          <pc:sldLayoutMkLst>
            <pc:docMk/>
            <pc:sldMasterMk cId="1834676799" sldId="2147484893"/>
            <pc:sldLayoutMk cId="3166853287" sldId="214748490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97" v="89" actId="2696"/>
          <pc:sldLayoutMkLst>
            <pc:docMk/>
            <pc:sldMasterMk cId="1834676799" sldId="2147484893"/>
            <pc:sldLayoutMk cId="2796115429" sldId="214748490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299" v="90" actId="2696"/>
          <pc:sldLayoutMkLst>
            <pc:docMk/>
            <pc:sldMasterMk cId="1834676799" sldId="2147484893"/>
            <pc:sldLayoutMk cId="2590176780" sldId="214748491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02" v="91" actId="2696"/>
          <pc:sldLayoutMkLst>
            <pc:docMk/>
            <pc:sldMasterMk cId="1834676799" sldId="2147484893"/>
            <pc:sldLayoutMk cId="1685493474" sldId="214748491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04" v="92" actId="2696"/>
          <pc:sldLayoutMkLst>
            <pc:docMk/>
            <pc:sldMasterMk cId="1834676799" sldId="2147484893"/>
            <pc:sldLayoutMk cId="2130956503" sldId="214748491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06" v="93" actId="2696"/>
          <pc:sldLayoutMkLst>
            <pc:docMk/>
            <pc:sldMasterMk cId="1834676799" sldId="2147484893"/>
            <pc:sldLayoutMk cId="1770678369" sldId="214748491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09" v="94" actId="2696"/>
          <pc:sldLayoutMkLst>
            <pc:docMk/>
            <pc:sldMasterMk cId="1834676799" sldId="2147484893"/>
            <pc:sldLayoutMk cId="2785533394" sldId="214748491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11" v="95" actId="2696"/>
          <pc:sldLayoutMkLst>
            <pc:docMk/>
            <pc:sldMasterMk cId="1834676799" sldId="2147484893"/>
            <pc:sldLayoutMk cId="2419579117" sldId="214748491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13" v="96" actId="2696"/>
          <pc:sldLayoutMkLst>
            <pc:docMk/>
            <pc:sldMasterMk cId="1834676799" sldId="2147484893"/>
            <pc:sldLayoutMk cId="262305991" sldId="214748491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14" v="97" actId="2696"/>
          <pc:sldLayoutMkLst>
            <pc:docMk/>
            <pc:sldMasterMk cId="1834676799" sldId="2147484893"/>
            <pc:sldLayoutMk cId="2468214690" sldId="214748491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16" v="98" actId="2696"/>
          <pc:sldLayoutMkLst>
            <pc:docMk/>
            <pc:sldMasterMk cId="1834676799" sldId="2147484893"/>
            <pc:sldLayoutMk cId="2228428432" sldId="214748491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18" v="99" actId="2696"/>
          <pc:sldLayoutMkLst>
            <pc:docMk/>
            <pc:sldMasterMk cId="1834676799" sldId="2147484893"/>
            <pc:sldLayoutMk cId="2580879583" sldId="214748491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20" v="100" actId="2696"/>
          <pc:sldLayoutMkLst>
            <pc:docMk/>
            <pc:sldMasterMk cId="1834676799" sldId="2147484893"/>
            <pc:sldLayoutMk cId="713756699" sldId="214748492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22" v="101" actId="2696"/>
          <pc:sldLayoutMkLst>
            <pc:docMk/>
            <pc:sldMasterMk cId="1834676799" sldId="2147484893"/>
            <pc:sldLayoutMk cId="3406418276" sldId="214748492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24" v="102" actId="2696"/>
          <pc:sldLayoutMkLst>
            <pc:docMk/>
            <pc:sldMasterMk cId="1834676799" sldId="2147484893"/>
            <pc:sldLayoutMk cId="4237135540" sldId="214748492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25" v="103" actId="2696"/>
          <pc:sldLayoutMkLst>
            <pc:docMk/>
            <pc:sldMasterMk cId="1834676799" sldId="2147484893"/>
            <pc:sldLayoutMk cId="1004049080" sldId="214748492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35" v="104" actId="2696"/>
          <pc:sldLayoutMkLst>
            <pc:docMk/>
            <pc:sldMasterMk cId="1834676799" sldId="2147484893"/>
            <pc:sldLayoutMk cId="201130480" sldId="214748492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38" v="105" actId="2696"/>
          <pc:sldLayoutMkLst>
            <pc:docMk/>
            <pc:sldMasterMk cId="1834676799" sldId="2147484893"/>
            <pc:sldLayoutMk cId="2255091832" sldId="214748492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9.340" v="106" actId="2696"/>
          <pc:sldLayoutMkLst>
            <pc:docMk/>
            <pc:sldMasterMk cId="1834676799" sldId="2147484893"/>
            <pc:sldLayoutMk cId="3614218245" sldId="2147484926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2.005" v="561" actId="2696"/>
        <pc:sldMasterMkLst>
          <pc:docMk/>
          <pc:sldMasterMk cId="3763189036" sldId="2147484927"/>
        </pc:sldMasterMkLst>
        <pc:sldLayoutChg chg="del">
          <pc:chgData name="Iker Beguiristain Armendaritz" userId="2e916005-fdeb-489c-b2b0-a9a7c20d41d0" providerId="ADAL" clId="{890EFAFB-A238-4A37-9E11-7C38AC7E6396}" dt="2022-02-04T12:44:51.809" v="528" actId="2696"/>
          <pc:sldLayoutMkLst>
            <pc:docMk/>
            <pc:sldMasterMk cId="3763189036" sldId="2147484927"/>
            <pc:sldLayoutMk cId="848017629" sldId="214748492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832" v="529" actId="2696"/>
          <pc:sldLayoutMkLst>
            <pc:docMk/>
            <pc:sldMasterMk cId="3763189036" sldId="2147484927"/>
            <pc:sldLayoutMk cId="1885689618" sldId="214748492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864" v="530" actId="2696"/>
          <pc:sldLayoutMkLst>
            <pc:docMk/>
            <pc:sldMasterMk cId="3763189036" sldId="2147484927"/>
            <pc:sldLayoutMk cId="2627014554" sldId="214748493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896" v="531" actId="2696"/>
          <pc:sldLayoutMkLst>
            <pc:docMk/>
            <pc:sldMasterMk cId="3763189036" sldId="2147484927"/>
            <pc:sldLayoutMk cId="3310563283" sldId="214748493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01" v="532" actId="2696"/>
          <pc:sldLayoutMkLst>
            <pc:docMk/>
            <pc:sldMasterMk cId="3763189036" sldId="2147484927"/>
            <pc:sldLayoutMk cId="1822372608" sldId="214748493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05" v="533" actId="2696"/>
          <pc:sldLayoutMkLst>
            <pc:docMk/>
            <pc:sldMasterMk cId="3763189036" sldId="2147484927"/>
            <pc:sldLayoutMk cId="3917237228" sldId="214748493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09" v="534" actId="2696"/>
          <pc:sldLayoutMkLst>
            <pc:docMk/>
            <pc:sldMasterMk cId="3763189036" sldId="2147484927"/>
            <pc:sldLayoutMk cId="4103734838" sldId="214748493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12" v="535" actId="2696"/>
          <pc:sldLayoutMkLst>
            <pc:docMk/>
            <pc:sldMasterMk cId="3763189036" sldId="2147484927"/>
            <pc:sldLayoutMk cId="264536832" sldId="214748493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15" v="536" actId="2696"/>
          <pc:sldLayoutMkLst>
            <pc:docMk/>
            <pc:sldMasterMk cId="3763189036" sldId="2147484927"/>
            <pc:sldLayoutMk cId="3275257452" sldId="214748493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18" v="537" actId="2696"/>
          <pc:sldLayoutMkLst>
            <pc:docMk/>
            <pc:sldMasterMk cId="3763189036" sldId="2147484927"/>
            <pc:sldLayoutMk cId="3049568837" sldId="214748493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20" v="538" actId="2696"/>
          <pc:sldLayoutMkLst>
            <pc:docMk/>
            <pc:sldMasterMk cId="3763189036" sldId="2147484927"/>
            <pc:sldLayoutMk cId="4059830560" sldId="214748493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23" v="539" actId="2696"/>
          <pc:sldLayoutMkLst>
            <pc:docMk/>
            <pc:sldMasterMk cId="3763189036" sldId="2147484927"/>
            <pc:sldLayoutMk cId="1144690614" sldId="214748493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25" v="540" actId="2696"/>
          <pc:sldLayoutMkLst>
            <pc:docMk/>
            <pc:sldMasterMk cId="3763189036" sldId="2147484927"/>
            <pc:sldLayoutMk cId="2618226945" sldId="214748494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28" v="541" actId="2696"/>
          <pc:sldLayoutMkLst>
            <pc:docMk/>
            <pc:sldMasterMk cId="3763189036" sldId="2147484927"/>
            <pc:sldLayoutMk cId="1377377528" sldId="214748494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31" v="542" actId="2696"/>
          <pc:sldLayoutMkLst>
            <pc:docMk/>
            <pc:sldMasterMk cId="3763189036" sldId="2147484927"/>
            <pc:sldLayoutMk cId="3477948602" sldId="214748494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33" v="543" actId="2696"/>
          <pc:sldLayoutMkLst>
            <pc:docMk/>
            <pc:sldMasterMk cId="3763189036" sldId="2147484927"/>
            <pc:sldLayoutMk cId="1947791725" sldId="214748494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36" v="544" actId="2696"/>
          <pc:sldLayoutMkLst>
            <pc:docMk/>
            <pc:sldMasterMk cId="3763189036" sldId="2147484927"/>
            <pc:sldLayoutMk cId="1481246621" sldId="214748494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38" v="545" actId="2696"/>
          <pc:sldLayoutMkLst>
            <pc:docMk/>
            <pc:sldMasterMk cId="3763189036" sldId="2147484927"/>
            <pc:sldLayoutMk cId="209262397" sldId="214748494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40" v="546" actId="2696"/>
          <pc:sldLayoutMkLst>
            <pc:docMk/>
            <pc:sldMasterMk cId="3763189036" sldId="2147484927"/>
            <pc:sldLayoutMk cId="2257689674" sldId="214748494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42" v="547" actId="2696"/>
          <pc:sldLayoutMkLst>
            <pc:docMk/>
            <pc:sldMasterMk cId="3763189036" sldId="2147484927"/>
            <pc:sldLayoutMk cId="3115385692" sldId="214748494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44" v="548" actId="2696"/>
          <pc:sldLayoutMkLst>
            <pc:docMk/>
            <pc:sldMasterMk cId="3763189036" sldId="2147484927"/>
            <pc:sldLayoutMk cId="50168020" sldId="214748494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47" v="549" actId="2696"/>
          <pc:sldLayoutMkLst>
            <pc:docMk/>
            <pc:sldMasterMk cId="3763189036" sldId="2147484927"/>
            <pc:sldLayoutMk cId="2325583795" sldId="214748494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50" v="550" actId="2696"/>
          <pc:sldLayoutMkLst>
            <pc:docMk/>
            <pc:sldMasterMk cId="3763189036" sldId="2147484927"/>
            <pc:sldLayoutMk cId="2243267565" sldId="214748495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52" v="551" actId="2696"/>
          <pc:sldLayoutMkLst>
            <pc:docMk/>
            <pc:sldMasterMk cId="3763189036" sldId="2147484927"/>
            <pc:sldLayoutMk cId="3775912433" sldId="214748495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54" v="552" actId="2696"/>
          <pc:sldLayoutMkLst>
            <pc:docMk/>
            <pc:sldMasterMk cId="3763189036" sldId="2147484927"/>
            <pc:sldLayoutMk cId="4227879015" sldId="214748495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57" v="553" actId="2696"/>
          <pc:sldLayoutMkLst>
            <pc:docMk/>
            <pc:sldMasterMk cId="3763189036" sldId="2147484927"/>
            <pc:sldLayoutMk cId="1465980612" sldId="214748495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60" v="554" actId="2696"/>
          <pc:sldLayoutMkLst>
            <pc:docMk/>
            <pc:sldMasterMk cId="3763189036" sldId="2147484927"/>
            <pc:sldLayoutMk cId="943930372" sldId="214748495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62" v="555" actId="2696"/>
          <pc:sldLayoutMkLst>
            <pc:docMk/>
            <pc:sldMasterMk cId="3763189036" sldId="2147484927"/>
            <pc:sldLayoutMk cId="3663501672" sldId="214748495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64" v="556" actId="2696"/>
          <pc:sldLayoutMkLst>
            <pc:docMk/>
            <pc:sldMasterMk cId="3763189036" sldId="2147484927"/>
            <pc:sldLayoutMk cId="194142179" sldId="214748495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65" v="557" actId="2696"/>
          <pc:sldLayoutMkLst>
            <pc:docMk/>
            <pc:sldMasterMk cId="3763189036" sldId="2147484927"/>
            <pc:sldLayoutMk cId="986756893" sldId="214748495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72" v="558" actId="2696"/>
          <pc:sldLayoutMkLst>
            <pc:docMk/>
            <pc:sldMasterMk cId="3763189036" sldId="2147484927"/>
            <pc:sldLayoutMk cId="2705163539" sldId="214748495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74" v="559" actId="2696"/>
          <pc:sldLayoutMkLst>
            <pc:docMk/>
            <pc:sldMasterMk cId="3763189036" sldId="2147484927"/>
            <pc:sldLayoutMk cId="3962174837" sldId="214748495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976" v="560" actId="2696"/>
          <pc:sldLayoutMkLst>
            <pc:docMk/>
            <pc:sldMasterMk cId="3763189036" sldId="2147484927"/>
            <pc:sldLayoutMk cId="3610876468" sldId="2147484960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51.308" v="433" actId="2696"/>
        <pc:sldMasterMkLst>
          <pc:docMk/>
          <pc:sldMasterMk cId="1845598861" sldId="2147484961"/>
        </pc:sldMasterMkLst>
        <pc:sldLayoutChg chg="del">
          <pc:chgData name="Iker Beguiristain Armendaritz" userId="2e916005-fdeb-489c-b2b0-a9a7c20d41d0" providerId="ADAL" clId="{890EFAFB-A238-4A37-9E11-7C38AC7E6396}" dt="2022-02-04T12:44:51.142" v="400" actId="2696"/>
          <pc:sldLayoutMkLst>
            <pc:docMk/>
            <pc:sldMasterMk cId="1845598861" sldId="2147484961"/>
            <pc:sldLayoutMk cId="1561239207" sldId="214748496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150" v="401" actId="2696"/>
          <pc:sldLayoutMkLst>
            <pc:docMk/>
            <pc:sldMasterMk cId="1845598861" sldId="2147484961"/>
            <pc:sldLayoutMk cId="4195046494" sldId="214748496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178" v="402" actId="2696"/>
          <pc:sldLayoutMkLst>
            <pc:docMk/>
            <pc:sldMasterMk cId="1845598861" sldId="2147484961"/>
            <pc:sldLayoutMk cId="1227744753" sldId="214748496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05" v="403" actId="2696"/>
          <pc:sldLayoutMkLst>
            <pc:docMk/>
            <pc:sldMasterMk cId="1845598861" sldId="2147484961"/>
            <pc:sldLayoutMk cId="2999631990" sldId="214748496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08" v="404" actId="2696"/>
          <pc:sldLayoutMkLst>
            <pc:docMk/>
            <pc:sldMasterMk cId="1845598861" sldId="2147484961"/>
            <pc:sldLayoutMk cId="1292619307" sldId="214748496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10" v="405" actId="2696"/>
          <pc:sldLayoutMkLst>
            <pc:docMk/>
            <pc:sldMasterMk cId="1845598861" sldId="2147484961"/>
            <pc:sldLayoutMk cId="1658291496" sldId="214748496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12" v="406" actId="2696"/>
          <pc:sldLayoutMkLst>
            <pc:docMk/>
            <pc:sldMasterMk cId="1845598861" sldId="2147484961"/>
            <pc:sldLayoutMk cId="648052474" sldId="214748496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14" v="407" actId="2696"/>
          <pc:sldLayoutMkLst>
            <pc:docMk/>
            <pc:sldMasterMk cId="1845598861" sldId="2147484961"/>
            <pc:sldLayoutMk cId="207444599" sldId="214748496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16" v="408" actId="2696"/>
          <pc:sldLayoutMkLst>
            <pc:docMk/>
            <pc:sldMasterMk cId="1845598861" sldId="2147484961"/>
            <pc:sldLayoutMk cId="2202984315" sldId="214748497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19" v="409" actId="2696"/>
          <pc:sldLayoutMkLst>
            <pc:docMk/>
            <pc:sldMasterMk cId="1845598861" sldId="2147484961"/>
            <pc:sldLayoutMk cId="317118716" sldId="214748497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21" v="410" actId="2696"/>
          <pc:sldLayoutMkLst>
            <pc:docMk/>
            <pc:sldMasterMk cId="1845598861" sldId="2147484961"/>
            <pc:sldLayoutMk cId="49330531" sldId="214748497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24" v="411" actId="2696"/>
          <pc:sldLayoutMkLst>
            <pc:docMk/>
            <pc:sldMasterMk cId="1845598861" sldId="2147484961"/>
            <pc:sldLayoutMk cId="1367556452" sldId="214748497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26" v="412" actId="2696"/>
          <pc:sldLayoutMkLst>
            <pc:docMk/>
            <pc:sldMasterMk cId="1845598861" sldId="2147484961"/>
            <pc:sldLayoutMk cId="2966550027" sldId="214748497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28" v="413" actId="2696"/>
          <pc:sldLayoutMkLst>
            <pc:docMk/>
            <pc:sldMasterMk cId="1845598861" sldId="2147484961"/>
            <pc:sldLayoutMk cId="2274949036" sldId="214748497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31" v="414" actId="2696"/>
          <pc:sldLayoutMkLst>
            <pc:docMk/>
            <pc:sldMasterMk cId="1845598861" sldId="2147484961"/>
            <pc:sldLayoutMk cId="2318603562" sldId="214748497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33" v="415" actId="2696"/>
          <pc:sldLayoutMkLst>
            <pc:docMk/>
            <pc:sldMasterMk cId="1845598861" sldId="2147484961"/>
            <pc:sldLayoutMk cId="1092158594" sldId="214748497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35" v="416" actId="2696"/>
          <pc:sldLayoutMkLst>
            <pc:docMk/>
            <pc:sldMasterMk cId="1845598861" sldId="2147484961"/>
            <pc:sldLayoutMk cId="305273670" sldId="214748497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41" v="417" actId="2696"/>
          <pc:sldLayoutMkLst>
            <pc:docMk/>
            <pc:sldMasterMk cId="1845598861" sldId="2147484961"/>
            <pc:sldLayoutMk cId="3833073931" sldId="214748497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44" v="418" actId="2696"/>
          <pc:sldLayoutMkLst>
            <pc:docMk/>
            <pc:sldMasterMk cId="1845598861" sldId="2147484961"/>
            <pc:sldLayoutMk cId="2484059587" sldId="214748498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47" v="419" actId="2696"/>
          <pc:sldLayoutMkLst>
            <pc:docMk/>
            <pc:sldMasterMk cId="1845598861" sldId="2147484961"/>
            <pc:sldLayoutMk cId="2381560376" sldId="214748498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50" v="420" actId="2696"/>
          <pc:sldLayoutMkLst>
            <pc:docMk/>
            <pc:sldMasterMk cId="1845598861" sldId="2147484961"/>
            <pc:sldLayoutMk cId="2090725781" sldId="214748498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52" v="421" actId="2696"/>
          <pc:sldLayoutMkLst>
            <pc:docMk/>
            <pc:sldMasterMk cId="1845598861" sldId="2147484961"/>
            <pc:sldLayoutMk cId="2387189208" sldId="214748498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54" v="422" actId="2696"/>
          <pc:sldLayoutMkLst>
            <pc:docMk/>
            <pc:sldMasterMk cId="1845598861" sldId="2147484961"/>
            <pc:sldLayoutMk cId="2617901419" sldId="214748498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57" v="423" actId="2696"/>
          <pc:sldLayoutMkLst>
            <pc:docMk/>
            <pc:sldMasterMk cId="1845598861" sldId="2147484961"/>
            <pc:sldLayoutMk cId="102928815" sldId="214748498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60" v="424" actId="2696"/>
          <pc:sldLayoutMkLst>
            <pc:docMk/>
            <pc:sldMasterMk cId="1845598861" sldId="2147484961"/>
            <pc:sldLayoutMk cId="3600007811" sldId="214748498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63" v="425" actId="2696"/>
          <pc:sldLayoutMkLst>
            <pc:docMk/>
            <pc:sldMasterMk cId="1845598861" sldId="2147484961"/>
            <pc:sldLayoutMk cId="3025943066" sldId="214748498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67" v="426" actId="2696"/>
          <pc:sldLayoutMkLst>
            <pc:docMk/>
            <pc:sldMasterMk cId="1845598861" sldId="2147484961"/>
            <pc:sldLayoutMk cId="598293188" sldId="214748498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70" v="427" actId="2696"/>
          <pc:sldLayoutMkLst>
            <pc:docMk/>
            <pc:sldMasterMk cId="1845598861" sldId="2147484961"/>
            <pc:sldLayoutMk cId="2987683132" sldId="214748498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72" v="428" actId="2696"/>
          <pc:sldLayoutMkLst>
            <pc:docMk/>
            <pc:sldMasterMk cId="1845598861" sldId="2147484961"/>
            <pc:sldLayoutMk cId="2520007069" sldId="214748499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74" v="429" actId="2696"/>
          <pc:sldLayoutMkLst>
            <pc:docMk/>
            <pc:sldMasterMk cId="1845598861" sldId="2147484961"/>
            <pc:sldLayoutMk cId="2678351438" sldId="214748499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81" v="430" actId="2696"/>
          <pc:sldLayoutMkLst>
            <pc:docMk/>
            <pc:sldMasterMk cId="1845598861" sldId="2147484961"/>
            <pc:sldLayoutMk cId="2154860345" sldId="214748499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84" v="431" actId="2696"/>
          <pc:sldLayoutMkLst>
            <pc:docMk/>
            <pc:sldMasterMk cId="1845598861" sldId="2147484961"/>
            <pc:sldLayoutMk cId="2546013382" sldId="214748499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51.286" v="432" actId="2696"/>
          <pc:sldLayoutMkLst>
            <pc:docMk/>
            <pc:sldMasterMk cId="1845598861" sldId="2147484961"/>
            <pc:sldLayoutMk cId="623564135" sldId="2147484994"/>
          </pc:sldLayoutMkLst>
        </pc:sldLayoutChg>
      </pc:sldMasterChg>
      <pc:sldMasterChg chg="del delSldLayout">
        <pc:chgData name="Iker Beguiristain Armendaritz" userId="2e916005-fdeb-489c-b2b0-a9a7c20d41d0" providerId="ADAL" clId="{890EFAFB-A238-4A37-9E11-7C38AC7E6396}" dt="2022-02-04T12:44:48.996" v="42" actId="2696"/>
        <pc:sldMasterMkLst>
          <pc:docMk/>
          <pc:sldMasterMk cId="2300021210" sldId="2147485063"/>
        </pc:sldMasterMkLst>
        <pc:sldLayoutChg chg="del">
          <pc:chgData name="Iker Beguiristain Armendaritz" userId="2e916005-fdeb-489c-b2b0-a9a7c20d41d0" providerId="ADAL" clId="{890EFAFB-A238-4A37-9E11-7C38AC7E6396}" dt="2022-02-04T12:44:48.708" v="9" actId="2696"/>
          <pc:sldLayoutMkLst>
            <pc:docMk/>
            <pc:sldMasterMk cId="2300021210" sldId="2147485063"/>
            <pc:sldLayoutMk cId="1901492335" sldId="214748506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718" v="10" actId="2696"/>
          <pc:sldLayoutMkLst>
            <pc:docMk/>
            <pc:sldMasterMk cId="2300021210" sldId="2147485063"/>
            <pc:sldLayoutMk cId="2171548186" sldId="214748506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762" v="11" actId="2696"/>
          <pc:sldLayoutMkLst>
            <pc:docMk/>
            <pc:sldMasterMk cId="2300021210" sldId="2147485063"/>
            <pc:sldLayoutMk cId="3138416866" sldId="214748506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10" v="12" actId="2696"/>
          <pc:sldLayoutMkLst>
            <pc:docMk/>
            <pc:sldMasterMk cId="2300021210" sldId="2147485063"/>
            <pc:sldLayoutMk cId="1305098589" sldId="214748506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13" v="13" actId="2696"/>
          <pc:sldLayoutMkLst>
            <pc:docMk/>
            <pc:sldMasterMk cId="2300021210" sldId="2147485063"/>
            <pc:sldLayoutMk cId="3094131604" sldId="214748506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17" v="14" actId="2696"/>
          <pc:sldLayoutMkLst>
            <pc:docMk/>
            <pc:sldMasterMk cId="2300021210" sldId="2147485063"/>
            <pc:sldLayoutMk cId="4284933061" sldId="214748506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22" v="15" actId="2696"/>
          <pc:sldLayoutMkLst>
            <pc:docMk/>
            <pc:sldMasterMk cId="2300021210" sldId="2147485063"/>
            <pc:sldLayoutMk cId="1273604576" sldId="214748507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26" v="16" actId="2696"/>
          <pc:sldLayoutMkLst>
            <pc:docMk/>
            <pc:sldMasterMk cId="2300021210" sldId="2147485063"/>
            <pc:sldLayoutMk cId="3915637181" sldId="214748507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31" v="17" actId="2696"/>
          <pc:sldLayoutMkLst>
            <pc:docMk/>
            <pc:sldMasterMk cId="2300021210" sldId="2147485063"/>
            <pc:sldLayoutMk cId="3547233988" sldId="214748507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33" v="18" actId="2696"/>
          <pc:sldLayoutMkLst>
            <pc:docMk/>
            <pc:sldMasterMk cId="2300021210" sldId="2147485063"/>
            <pc:sldLayoutMk cId="386610232" sldId="214748507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38" v="19" actId="2696"/>
          <pc:sldLayoutMkLst>
            <pc:docMk/>
            <pc:sldMasterMk cId="2300021210" sldId="2147485063"/>
            <pc:sldLayoutMk cId="3227126486" sldId="214748507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44" v="20" actId="2696"/>
          <pc:sldLayoutMkLst>
            <pc:docMk/>
            <pc:sldMasterMk cId="2300021210" sldId="2147485063"/>
            <pc:sldLayoutMk cId="752230893" sldId="214748507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49" v="21" actId="2696"/>
          <pc:sldLayoutMkLst>
            <pc:docMk/>
            <pc:sldMasterMk cId="2300021210" sldId="2147485063"/>
            <pc:sldLayoutMk cId="1949082896" sldId="214748507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54" v="22" actId="2696"/>
          <pc:sldLayoutMkLst>
            <pc:docMk/>
            <pc:sldMasterMk cId="2300021210" sldId="2147485063"/>
            <pc:sldLayoutMk cId="472150715" sldId="214748507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63" v="23" actId="2696"/>
          <pc:sldLayoutMkLst>
            <pc:docMk/>
            <pc:sldMasterMk cId="2300021210" sldId="2147485063"/>
            <pc:sldLayoutMk cId="1662433403" sldId="214748507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65" v="24" actId="2696"/>
          <pc:sldLayoutMkLst>
            <pc:docMk/>
            <pc:sldMasterMk cId="2300021210" sldId="2147485063"/>
            <pc:sldLayoutMk cId="3018605894" sldId="214748507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70" v="25" actId="2696"/>
          <pc:sldLayoutMkLst>
            <pc:docMk/>
            <pc:sldMasterMk cId="2300021210" sldId="2147485063"/>
            <pc:sldLayoutMk cId="2614708027" sldId="214748508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74" v="26" actId="2696"/>
          <pc:sldLayoutMkLst>
            <pc:docMk/>
            <pc:sldMasterMk cId="2300021210" sldId="2147485063"/>
            <pc:sldLayoutMk cId="3738002823" sldId="214748508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81" v="27" actId="2696"/>
          <pc:sldLayoutMkLst>
            <pc:docMk/>
            <pc:sldMasterMk cId="2300021210" sldId="2147485063"/>
            <pc:sldLayoutMk cId="3964784913" sldId="214748508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88" v="28" actId="2696"/>
          <pc:sldLayoutMkLst>
            <pc:docMk/>
            <pc:sldMasterMk cId="2300021210" sldId="2147485063"/>
            <pc:sldLayoutMk cId="577234763" sldId="214748508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93" v="29" actId="2696"/>
          <pc:sldLayoutMkLst>
            <pc:docMk/>
            <pc:sldMasterMk cId="2300021210" sldId="2147485063"/>
            <pc:sldLayoutMk cId="50537204" sldId="214748508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899" v="30" actId="2696"/>
          <pc:sldLayoutMkLst>
            <pc:docMk/>
            <pc:sldMasterMk cId="2300021210" sldId="2147485063"/>
            <pc:sldLayoutMk cId="3046121560" sldId="214748508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902" v="31" actId="2696"/>
          <pc:sldLayoutMkLst>
            <pc:docMk/>
            <pc:sldMasterMk cId="2300021210" sldId="2147485063"/>
            <pc:sldLayoutMk cId="2438838800" sldId="2147485086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907" v="32" actId="2696"/>
          <pc:sldLayoutMkLst>
            <pc:docMk/>
            <pc:sldMasterMk cId="2300021210" sldId="2147485063"/>
            <pc:sldLayoutMk cId="1828810322" sldId="2147485087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910" v="33" actId="2696"/>
          <pc:sldLayoutMkLst>
            <pc:docMk/>
            <pc:sldMasterMk cId="2300021210" sldId="2147485063"/>
            <pc:sldLayoutMk cId="993334759" sldId="2147485088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914" v="34" actId="2696"/>
          <pc:sldLayoutMkLst>
            <pc:docMk/>
            <pc:sldMasterMk cId="2300021210" sldId="2147485063"/>
            <pc:sldLayoutMk cId="2661658919" sldId="2147485089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919" v="35" actId="2696"/>
          <pc:sldLayoutMkLst>
            <pc:docMk/>
            <pc:sldMasterMk cId="2300021210" sldId="2147485063"/>
            <pc:sldLayoutMk cId="1924321366" sldId="2147485090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923" v="36" actId="2696"/>
          <pc:sldLayoutMkLst>
            <pc:docMk/>
            <pc:sldMasterMk cId="2300021210" sldId="2147485063"/>
            <pc:sldLayoutMk cId="2034768659" sldId="2147485091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928" v="37" actId="2696"/>
          <pc:sldLayoutMkLst>
            <pc:docMk/>
            <pc:sldMasterMk cId="2300021210" sldId="2147485063"/>
            <pc:sldLayoutMk cId="1006997578" sldId="2147485092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932" v="38" actId="2696"/>
          <pc:sldLayoutMkLst>
            <pc:docMk/>
            <pc:sldMasterMk cId="2300021210" sldId="2147485063"/>
            <pc:sldLayoutMk cId="221872456" sldId="2147485093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945" v="39" actId="2696"/>
          <pc:sldLayoutMkLst>
            <pc:docMk/>
            <pc:sldMasterMk cId="2300021210" sldId="2147485063"/>
            <pc:sldLayoutMk cId="2110104362" sldId="2147485094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951" v="40" actId="2696"/>
          <pc:sldLayoutMkLst>
            <pc:docMk/>
            <pc:sldMasterMk cId="2300021210" sldId="2147485063"/>
            <pc:sldLayoutMk cId="3703800650" sldId="2147485095"/>
          </pc:sldLayoutMkLst>
        </pc:sldLayoutChg>
        <pc:sldLayoutChg chg="del">
          <pc:chgData name="Iker Beguiristain Armendaritz" userId="2e916005-fdeb-489c-b2b0-a9a7c20d41d0" providerId="ADAL" clId="{890EFAFB-A238-4A37-9E11-7C38AC7E6396}" dt="2022-02-04T12:44:48.955" v="41" actId="2696"/>
          <pc:sldLayoutMkLst>
            <pc:docMk/>
            <pc:sldMasterMk cId="2300021210" sldId="2147485063"/>
            <pc:sldLayoutMk cId="574598443" sldId="2147485096"/>
          </pc:sldLayoutMkLst>
        </pc:sldLayoutChg>
      </pc:sldMasterChg>
    </pc:docChg>
  </pc:docChgLst>
  <pc:docChgLst>
    <pc:chgData name="Eugenio Hernandez Contreras" userId="374f78fa-7281-443b-bdfc-66b046773caf" providerId="ADAL" clId="{863909F5-FE08-4870-8738-CC816B3DB792}"/>
    <pc:docChg chg="undo custSel addSld delSld modSld addSection delSection modSection">
      <pc:chgData name="Eugenio Hernandez Contreras" userId="374f78fa-7281-443b-bdfc-66b046773caf" providerId="ADAL" clId="{863909F5-FE08-4870-8738-CC816B3DB792}" dt="2022-11-23T15:16:38.887" v="5875" actId="47"/>
      <pc:docMkLst>
        <pc:docMk/>
      </pc:docMkLst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1961145666" sldId="2142532092"/>
        </pc:sldMkLst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3291829661" sldId="2142532451"/>
        </pc:sldMkLst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992586200" sldId="2142532452"/>
        </pc:sldMkLst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2654589919" sldId="2142532461"/>
        </pc:sldMkLst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945067092" sldId="2142532465"/>
        </pc:sldMkLst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45623931" sldId="2142532475"/>
        </pc:sldMkLst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1713282002" sldId="2142532476"/>
        </pc:sldMkLst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2290817930" sldId="2145707112"/>
        </pc:sldMkLst>
      </pc:sldChg>
      <pc:sldChg chg="addSp modSp 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88912014" sldId="2145707129"/>
        </pc:sldMkLst>
        <pc:spChg chg="add mod">
          <ac:chgData name="Eugenio Hernandez Contreras" userId="374f78fa-7281-443b-bdfc-66b046773caf" providerId="ADAL" clId="{863909F5-FE08-4870-8738-CC816B3DB792}" dt="2022-11-22T17:09:58.124" v="4521" actId="571"/>
          <ac:spMkLst>
            <pc:docMk/>
            <pc:sldMk cId="88912014" sldId="2145707129"/>
            <ac:spMk id="133" creationId="{7537ADB9-F36D-40F6-B624-8A599AA081F1}"/>
          </ac:spMkLst>
        </pc:spChg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2996423410" sldId="2145707131"/>
        </pc:sldMkLst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3434323161" sldId="2145707141"/>
        </pc:sldMkLst>
      </pc:sldChg>
      <pc:sldChg chg="addSp delSp modSp mod">
        <pc:chgData name="Eugenio Hernandez Contreras" userId="374f78fa-7281-443b-bdfc-66b046773caf" providerId="ADAL" clId="{863909F5-FE08-4870-8738-CC816B3DB792}" dt="2022-11-22T17:23:39.974" v="5026"/>
        <pc:sldMkLst>
          <pc:docMk/>
          <pc:sldMk cId="30000760" sldId="2145707163"/>
        </pc:sldMkLst>
        <pc:spChg chg="mod ord">
          <ac:chgData name="Eugenio Hernandez Contreras" userId="374f78fa-7281-443b-bdfc-66b046773caf" providerId="ADAL" clId="{863909F5-FE08-4870-8738-CC816B3DB792}" dt="2022-11-22T17:23:39.959" v="5024" actId="20577"/>
          <ac:spMkLst>
            <pc:docMk/>
            <pc:sldMk cId="30000760" sldId="2145707163"/>
            <ac:spMk id="2" creationId="{00000000-0000-0000-0000-000000000000}"/>
          </ac:spMkLst>
        </pc:spChg>
        <pc:spChg chg="mod">
          <ac:chgData name="Eugenio Hernandez Contreras" userId="374f78fa-7281-443b-bdfc-66b046773caf" providerId="ADAL" clId="{863909F5-FE08-4870-8738-CC816B3DB792}" dt="2022-11-22T15:34:37.841" v="317"/>
          <ac:spMkLst>
            <pc:docMk/>
            <pc:sldMk cId="30000760" sldId="2145707163"/>
            <ac:spMk id="8" creationId="{A1EB6AC0-B57E-427E-BF43-AB9300C1ADCB}"/>
          </ac:spMkLst>
        </pc:spChg>
        <pc:spChg chg="mod">
          <ac:chgData name="Eugenio Hernandez Contreras" userId="374f78fa-7281-443b-bdfc-66b046773caf" providerId="ADAL" clId="{863909F5-FE08-4870-8738-CC816B3DB792}" dt="2022-11-22T15:34:37.842" v="318"/>
          <ac:spMkLst>
            <pc:docMk/>
            <pc:sldMk cId="30000760" sldId="2145707163"/>
            <ac:spMk id="9" creationId="{92684C03-1833-4AB9-BEF1-F25CFC659EE3}"/>
          </ac:spMkLst>
        </pc:spChg>
        <pc:spChg chg="add del mod modVis">
          <ac:chgData name="Eugenio Hernandez Contreras" userId="374f78fa-7281-443b-bdfc-66b046773caf" providerId="ADAL" clId="{863909F5-FE08-4870-8738-CC816B3DB792}" dt="2022-11-22T15:31:30.220" v="56"/>
          <ac:spMkLst>
            <pc:docMk/>
            <pc:sldMk cId="30000760" sldId="2145707163"/>
            <ac:spMk id="10" creationId="{836C0EEB-B44C-4B56-BD2F-AFD0C4852502}"/>
          </ac:spMkLst>
        </pc:spChg>
        <pc:spChg chg="mod ord">
          <ac:chgData name="Eugenio Hernandez Contreras" userId="374f78fa-7281-443b-bdfc-66b046773caf" providerId="ADAL" clId="{863909F5-FE08-4870-8738-CC816B3DB792}" dt="2022-11-22T15:36:20.486" v="1048" actId="1076"/>
          <ac:spMkLst>
            <pc:docMk/>
            <pc:sldMk cId="30000760" sldId="2145707163"/>
            <ac:spMk id="12" creationId="{7D2D6644-3B2F-47EA-8A2B-41B264902A39}"/>
          </ac:spMkLst>
        </pc:spChg>
        <pc:spChg chg="mod ord">
          <ac:chgData name="Eugenio Hernandez Contreras" userId="374f78fa-7281-443b-bdfc-66b046773caf" providerId="ADAL" clId="{863909F5-FE08-4870-8738-CC816B3DB792}" dt="2022-11-22T15:36:25.645" v="1062" actId="20577"/>
          <ac:spMkLst>
            <pc:docMk/>
            <pc:sldMk cId="30000760" sldId="2145707163"/>
            <ac:spMk id="13" creationId="{81057B5C-F748-4693-853B-63D4EB2A0A01}"/>
          </ac:spMkLst>
        </pc:spChg>
        <pc:spChg chg="mod ord">
          <ac:chgData name="Eugenio Hernandez Contreras" userId="374f78fa-7281-443b-bdfc-66b046773caf" providerId="ADAL" clId="{863909F5-FE08-4870-8738-CC816B3DB792}" dt="2022-11-22T15:37:19.515" v="1234" actId="20577"/>
          <ac:spMkLst>
            <pc:docMk/>
            <pc:sldMk cId="30000760" sldId="2145707163"/>
            <ac:spMk id="16" creationId="{89FF830A-C965-4519-A32B-9D104B6981E4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33.019" v="430"/>
          <ac:spMkLst>
            <pc:docMk/>
            <pc:sldMk cId="30000760" sldId="2145707163"/>
            <ac:spMk id="18" creationId="{6A086205-B485-4990-9BEC-0ECFB428BA31}"/>
          </ac:spMkLst>
        </pc:spChg>
        <pc:spChg chg="mod">
          <ac:chgData name="Eugenio Hernandez Contreras" userId="374f78fa-7281-443b-bdfc-66b046773caf" providerId="ADAL" clId="{863909F5-FE08-4870-8738-CC816B3DB792}" dt="2022-11-22T15:35:08.448" v="338" actId="478"/>
          <ac:spMkLst>
            <pc:docMk/>
            <pc:sldMk cId="30000760" sldId="2145707163"/>
            <ac:spMk id="20" creationId="{45301D58-F232-4D55-BBE6-84BE4A5D808D}"/>
          </ac:spMkLst>
        </pc:spChg>
        <pc:spChg chg="add del">
          <ac:chgData name="Eugenio Hernandez Contreras" userId="374f78fa-7281-443b-bdfc-66b046773caf" providerId="ADAL" clId="{863909F5-FE08-4870-8738-CC816B3DB792}" dt="2022-11-22T15:35:08.448" v="338" actId="478"/>
          <ac:spMkLst>
            <pc:docMk/>
            <pc:sldMk cId="30000760" sldId="2145707163"/>
            <ac:spMk id="21" creationId="{68509251-D9A0-4879-B03E-143AC8ACE26A}"/>
          </ac:spMkLst>
        </pc:spChg>
        <pc:spChg chg="add del mod">
          <ac:chgData name="Eugenio Hernandez Contreras" userId="374f78fa-7281-443b-bdfc-66b046773caf" providerId="ADAL" clId="{863909F5-FE08-4870-8738-CC816B3DB792}" dt="2022-11-22T15:35:08.448" v="338" actId="478"/>
          <ac:spMkLst>
            <pc:docMk/>
            <pc:sldMk cId="30000760" sldId="2145707163"/>
            <ac:spMk id="22" creationId="{F7C23E49-C201-456F-BF79-FF8CD33D0080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33.723" v="473"/>
          <ac:spMkLst>
            <pc:docMk/>
            <pc:sldMk cId="30000760" sldId="2145707163"/>
            <ac:spMk id="23" creationId="{875D529C-1893-439F-85CE-212D3694B289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35.002" v="518"/>
          <ac:spMkLst>
            <pc:docMk/>
            <pc:sldMk cId="30000760" sldId="2145707163"/>
            <ac:spMk id="24" creationId="{16A43461-CEF2-44F7-BA9C-C0CF7EB606FE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37.892" v="577"/>
          <ac:spMkLst>
            <pc:docMk/>
            <pc:sldMk cId="30000760" sldId="2145707163"/>
            <ac:spMk id="25" creationId="{16105E3A-4E20-4764-9CC8-0E1DAEB0A50F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39.674" v="623"/>
          <ac:spMkLst>
            <pc:docMk/>
            <pc:sldMk cId="30000760" sldId="2145707163"/>
            <ac:spMk id="26" creationId="{1A9A2F18-D42E-4CC9-8DFF-61382040C2B5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41.537" v="671"/>
          <ac:spMkLst>
            <pc:docMk/>
            <pc:sldMk cId="30000760" sldId="2145707163"/>
            <ac:spMk id="27" creationId="{21F19689-E5B2-4785-94FE-3BD996E8417D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42.841" v="716"/>
          <ac:spMkLst>
            <pc:docMk/>
            <pc:sldMk cId="30000760" sldId="2145707163"/>
            <ac:spMk id="28" creationId="{499E98D7-2039-44A4-875E-E47D223090A7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47.396" v="762"/>
          <ac:spMkLst>
            <pc:docMk/>
            <pc:sldMk cId="30000760" sldId="2145707163"/>
            <ac:spMk id="29" creationId="{EFB963AA-A43B-43CC-B7CD-3D8E2DD69D90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49.655" v="812"/>
          <ac:spMkLst>
            <pc:docMk/>
            <pc:sldMk cId="30000760" sldId="2145707163"/>
            <ac:spMk id="30" creationId="{6217C946-3952-4E89-8857-1FB5CDC7C177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55.457" v="870"/>
          <ac:spMkLst>
            <pc:docMk/>
            <pc:sldMk cId="30000760" sldId="2145707163"/>
            <ac:spMk id="31" creationId="{804629AD-EDCB-47EC-B568-F4084613CB50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56.084" v="928"/>
          <ac:spMkLst>
            <pc:docMk/>
            <pc:sldMk cId="30000760" sldId="2145707163"/>
            <ac:spMk id="32" creationId="{983849DE-C813-42F1-99F9-6F528EABFFE3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58.924" v="986"/>
          <ac:spMkLst>
            <pc:docMk/>
            <pc:sldMk cId="30000760" sldId="2145707163"/>
            <ac:spMk id="33" creationId="{975FDCDE-8CAD-4AD8-9D5C-EBDF05F4F741}"/>
          </ac:spMkLst>
        </pc:spChg>
        <pc:spChg chg="add del mod modVis">
          <ac:chgData name="Eugenio Hernandez Contreras" userId="374f78fa-7281-443b-bdfc-66b046773caf" providerId="ADAL" clId="{863909F5-FE08-4870-8738-CC816B3DB792}" dt="2022-11-22T15:35:59.775" v="1044"/>
          <ac:spMkLst>
            <pc:docMk/>
            <pc:sldMk cId="30000760" sldId="2145707163"/>
            <ac:spMk id="34" creationId="{76E2F7ED-F97A-45B8-AA5D-709DDAEE6010}"/>
          </ac:spMkLst>
        </pc:spChg>
        <pc:spChg chg="add del mod modVis">
          <ac:chgData name="Eugenio Hernandez Contreras" userId="374f78fa-7281-443b-bdfc-66b046773caf" providerId="ADAL" clId="{863909F5-FE08-4870-8738-CC816B3DB792}" dt="2022-11-22T15:36:30.661" v="1103"/>
          <ac:spMkLst>
            <pc:docMk/>
            <pc:sldMk cId="30000760" sldId="2145707163"/>
            <ac:spMk id="35" creationId="{7F177EFD-D8D8-475D-B5AA-20ED317D57F3}"/>
          </ac:spMkLst>
        </pc:spChg>
        <pc:spChg chg="add del mod modVis">
          <ac:chgData name="Eugenio Hernandez Contreras" userId="374f78fa-7281-443b-bdfc-66b046773caf" providerId="ADAL" clId="{863909F5-FE08-4870-8738-CC816B3DB792}" dt="2022-11-22T15:36:32.721" v="1166"/>
          <ac:spMkLst>
            <pc:docMk/>
            <pc:sldMk cId="30000760" sldId="2145707163"/>
            <ac:spMk id="36" creationId="{104AB127-0F92-4363-B0AC-B0A81C231747}"/>
          </ac:spMkLst>
        </pc:spChg>
        <pc:spChg chg="add del mod modVis">
          <ac:chgData name="Eugenio Hernandez Contreras" userId="374f78fa-7281-443b-bdfc-66b046773caf" providerId="ADAL" clId="{863909F5-FE08-4870-8738-CC816B3DB792}" dt="2022-11-22T17:23:39.958" v="5022" actId="962"/>
          <ac:spMkLst>
            <pc:docMk/>
            <pc:sldMk cId="30000760" sldId="2145707163"/>
            <ac:spMk id="37" creationId="{8D246E3B-074B-41B6-B04E-9055079F0756}"/>
          </ac:spMkLst>
        </pc:spChg>
        <pc:spChg chg="add del mod modVis">
          <ac:chgData name="Eugenio Hernandez Contreras" userId="374f78fa-7281-443b-bdfc-66b046773caf" providerId="ADAL" clId="{863909F5-FE08-4870-8738-CC816B3DB792}" dt="2022-11-22T17:23:39.254" v="4965" actId="962"/>
          <ac:spMkLst>
            <pc:docMk/>
            <pc:sldMk cId="30000760" sldId="2145707163"/>
            <ac:spMk id="38" creationId="{D9827059-661B-40DF-8BB1-2AC10CC06F93}"/>
          </ac:spMkLst>
        </pc:spChg>
        <pc:grpChg chg="add del mod">
          <ac:chgData name="Eugenio Hernandez Contreras" userId="374f78fa-7281-443b-bdfc-66b046773caf" providerId="ADAL" clId="{863909F5-FE08-4870-8738-CC816B3DB792}" dt="2022-11-22T15:35:08.448" v="338" actId="478"/>
          <ac:grpSpMkLst>
            <pc:docMk/>
            <pc:sldMk cId="30000760" sldId="2145707163"/>
            <ac:grpSpMk id="19" creationId="{E2D30A4D-1303-4F25-B722-5312C7EF84B2}"/>
          </ac:grpSpMkLst>
        </pc:grpChg>
        <pc:graphicFrameChg chg="mod">
          <ac:chgData name="Eugenio Hernandez Contreras" userId="374f78fa-7281-443b-bdfc-66b046773caf" providerId="ADAL" clId="{863909F5-FE08-4870-8738-CC816B3DB792}" dt="2022-11-22T17:23:39.974" v="5026"/>
          <ac:graphicFrameMkLst>
            <pc:docMk/>
            <pc:sldMk cId="30000760" sldId="2145707163"/>
            <ac:graphicFrameMk id="6" creationId="{D531D327-4561-4E1E-8DF3-44C0A9252905}"/>
          </ac:graphicFrameMkLst>
        </pc:graphicFrameChg>
        <pc:picChg chg="del">
          <ac:chgData name="Eugenio Hernandez Contreras" userId="374f78fa-7281-443b-bdfc-66b046773caf" providerId="ADAL" clId="{863909F5-FE08-4870-8738-CC816B3DB792}" dt="2022-11-22T15:31:10.073" v="0" actId="478"/>
          <ac:picMkLst>
            <pc:docMk/>
            <pc:sldMk cId="30000760" sldId="2145707163"/>
            <ac:picMk id="4" creationId="{D2478976-69F5-47D9-A7D7-93BC773E25EC}"/>
          </ac:picMkLst>
        </pc:picChg>
        <pc:picChg chg="mod ord">
          <ac:chgData name="Eugenio Hernandez Contreras" userId="374f78fa-7281-443b-bdfc-66b046773caf" providerId="ADAL" clId="{863909F5-FE08-4870-8738-CC816B3DB792}" dt="2022-11-22T15:34:37.842" v="322"/>
          <ac:picMkLst>
            <pc:docMk/>
            <pc:sldMk cId="30000760" sldId="2145707163"/>
            <ac:picMk id="5" creationId="{2426666B-6D19-4480-BF3D-8CB432431E68}"/>
          </ac:picMkLst>
        </pc:picChg>
        <pc:picChg chg="add del mod ord">
          <ac:chgData name="Eugenio Hernandez Contreras" userId="374f78fa-7281-443b-bdfc-66b046773caf" providerId="ADAL" clId="{863909F5-FE08-4870-8738-CC816B3DB792}" dt="2022-11-22T15:34:44.390" v="330" actId="478"/>
          <ac:picMkLst>
            <pc:docMk/>
            <pc:sldMk cId="30000760" sldId="2145707163"/>
            <ac:picMk id="7" creationId="{0355AF1D-D615-47D0-A5F6-6122AAC9D432}"/>
          </ac:picMkLst>
        </pc:picChg>
        <pc:picChg chg="add del mod ord modCrop">
          <ac:chgData name="Eugenio Hernandez Contreras" userId="374f78fa-7281-443b-bdfc-66b046773caf" providerId="ADAL" clId="{863909F5-FE08-4870-8738-CC816B3DB792}" dt="2022-11-22T15:34:43.934" v="329" actId="478"/>
          <ac:picMkLst>
            <pc:docMk/>
            <pc:sldMk cId="30000760" sldId="2145707163"/>
            <ac:picMk id="14" creationId="{D56DB0A9-2FBD-4F54-B0C5-592950A4B5B0}"/>
          </ac:picMkLst>
        </pc:picChg>
        <pc:picChg chg="add mod ord modCrop">
          <ac:chgData name="Eugenio Hernandez Contreras" userId="374f78fa-7281-443b-bdfc-66b046773caf" providerId="ADAL" clId="{863909F5-FE08-4870-8738-CC816B3DB792}" dt="2022-11-22T15:35:12.869" v="339" actId="1076"/>
          <ac:picMkLst>
            <pc:docMk/>
            <pc:sldMk cId="30000760" sldId="2145707163"/>
            <ac:picMk id="17" creationId="{33A42B1D-BDF7-497E-A72F-04CF3B3F6223}"/>
          </ac:picMkLst>
        </pc:picChg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1842572674" sldId="2145707164"/>
        </pc:sldMkLst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936681497" sldId="2145707165"/>
        </pc:sldMkLst>
      </pc:sldChg>
      <pc:sldChg chg="del">
        <pc:chgData name="Eugenio Hernandez Contreras" userId="374f78fa-7281-443b-bdfc-66b046773caf" providerId="ADAL" clId="{863909F5-FE08-4870-8738-CC816B3DB792}" dt="2022-11-22T17:47:13.493" v="5872" actId="18676"/>
        <pc:sldMkLst>
          <pc:docMk/>
          <pc:sldMk cId="360838478" sldId="2145707166"/>
        </pc:sldMkLst>
      </pc:sldChg>
      <pc:sldChg chg="new add del">
        <pc:chgData name="Eugenio Hernandez Contreras" userId="374f78fa-7281-443b-bdfc-66b046773caf" providerId="ADAL" clId="{863909F5-FE08-4870-8738-CC816B3DB792}" dt="2022-11-22T15:37:29.839" v="1237" actId="47"/>
        <pc:sldMkLst>
          <pc:docMk/>
          <pc:sldMk cId="281304345" sldId="2145707167"/>
        </pc:sldMkLst>
      </pc:sldChg>
      <pc:sldChg chg="addSp delSp modSp add mod">
        <pc:chgData name="Eugenio Hernandez Contreras" userId="374f78fa-7281-443b-bdfc-66b046773caf" providerId="ADAL" clId="{863909F5-FE08-4870-8738-CC816B3DB792}" dt="2022-11-22T17:38:01.118" v="5315" actId="12788"/>
        <pc:sldMkLst>
          <pc:docMk/>
          <pc:sldMk cId="3915111650" sldId="2145707167"/>
        </pc:sldMkLst>
        <pc:spChg chg="mod ord">
          <ac:chgData name="Eugenio Hernandez Contreras" userId="374f78fa-7281-443b-bdfc-66b046773caf" providerId="ADAL" clId="{863909F5-FE08-4870-8738-CC816B3DB792}" dt="2022-11-22T17:21:58.536" v="4762"/>
          <ac:spMkLst>
            <pc:docMk/>
            <pc:sldMk cId="3915111650" sldId="2145707167"/>
            <ac:spMk id="2" creationId="{00000000-0000-0000-0000-000000000000}"/>
          </ac:spMkLst>
        </pc:spChg>
        <pc:spChg chg="add del mod modVis">
          <ac:chgData name="Eugenio Hernandez Contreras" userId="374f78fa-7281-443b-bdfc-66b046773caf" providerId="ADAL" clId="{863909F5-FE08-4870-8738-CC816B3DB792}" dt="2022-11-22T15:37:54.790" v="1436"/>
          <ac:spMkLst>
            <pc:docMk/>
            <pc:sldMk cId="3915111650" sldId="2145707167"/>
            <ac:spMk id="3" creationId="{86988CA6-E7C1-4EAA-9123-97412F533761}"/>
          </ac:spMkLst>
        </pc:spChg>
        <pc:spChg chg="mod ord">
          <ac:chgData name="Eugenio Hernandez Contreras" userId="374f78fa-7281-443b-bdfc-66b046773caf" providerId="ADAL" clId="{863909F5-FE08-4870-8738-CC816B3DB792}" dt="2022-11-22T17:21:58.536" v="4764"/>
          <ac:spMkLst>
            <pc:docMk/>
            <pc:sldMk cId="3915111650" sldId="2145707167"/>
            <ac:spMk id="5" creationId="{62C68A46-D53F-4F97-9C58-D749FFE6030E}"/>
          </ac:spMkLst>
        </pc:spChg>
        <pc:spChg chg="add del mod modVis">
          <ac:chgData name="Eugenio Hernandez Contreras" userId="374f78fa-7281-443b-bdfc-66b046773caf" providerId="ADAL" clId="{863909F5-FE08-4870-8738-CC816B3DB792}" dt="2022-11-22T15:37:56.490" v="1621"/>
          <ac:spMkLst>
            <pc:docMk/>
            <pc:sldMk cId="3915111650" sldId="2145707167"/>
            <ac:spMk id="6" creationId="{B8B567E2-3D9E-41F6-8958-AF2E035E49B6}"/>
          </ac:spMkLst>
        </pc:spChg>
        <pc:spChg chg="add del mod modVis">
          <ac:chgData name="Eugenio Hernandez Contreras" userId="374f78fa-7281-443b-bdfc-66b046773caf" providerId="ADAL" clId="{863909F5-FE08-4870-8738-CC816B3DB792}" dt="2022-11-22T15:38:00.491" v="1677"/>
          <ac:spMkLst>
            <pc:docMk/>
            <pc:sldMk cId="3915111650" sldId="2145707167"/>
            <ac:spMk id="7" creationId="{F2FDA577-5C33-4B08-B7BD-FD4006B49CA8}"/>
          </ac:spMkLst>
        </pc:spChg>
        <pc:spChg chg="add del mod modVis">
          <ac:chgData name="Eugenio Hernandez Contreras" userId="374f78fa-7281-443b-bdfc-66b046773caf" providerId="ADAL" clId="{863909F5-FE08-4870-8738-CC816B3DB792}" dt="2022-11-22T15:38:01.147" v="1720"/>
          <ac:spMkLst>
            <pc:docMk/>
            <pc:sldMk cId="3915111650" sldId="2145707167"/>
            <ac:spMk id="8" creationId="{458E443C-7ECF-48B0-A99F-81DA846AA444}"/>
          </ac:spMkLst>
        </pc:spChg>
        <pc:spChg chg="add del mod modVis">
          <ac:chgData name="Eugenio Hernandez Contreras" userId="374f78fa-7281-443b-bdfc-66b046773caf" providerId="ADAL" clId="{863909F5-FE08-4870-8738-CC816B3DB792}" dt="2022-11-22T15:38:10.965" v="1766"/>
          <ac:spMkLst>
            <pc:docMk/>
            <pc:sldMk cId="3915111650" sldId="2145707167"/>
            <ac:spMk id="9" creationId="{5690D33E-1CD4-4190-BAE0-EB14C6088F62}"/>
          </ac:spMkLst>
        </pc:spChg>
        <pc:spChg chg="add del mod modVis">
          <ac:chgData name="Eugenio Hernandez Contreras" userId="374f78fa-7281-443b-bdfc-66b046773caf" providerId="ADAL" clId="{863909F5-FE08-4870-8738-CC816B3DB792}" dt="2022-11-22T15:38:16.142" v="1945"/>
          <ac:spMkLst>
            <pc:docMk/>
            <pc:sldMk cId="3915111650" sldId="2145707167"/>
            <ac:spMk id="10" creationId="{CD88A0C6-B4F4-4783-99FB-3D140F31F8BB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08.796" v="2039"/>
          <ac:spMkLst>
            <pc:docMk/>
            <pc:sldMk cId="3915111650" sldId="2145707167"/>
            <ac:spMk id="11" creationId="{537A6D02-AF43-4FBB-B659-A6EB245A3333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11.947" v="2095"/>
          <ac:spMkLst>
            <pc:docMk/>
            <pc:sldMk cId="3915111650" sldId="2145707167"/>
            <ac:spMk id="12" creationId="{836B5094-635D-4E3C-9F65-668A5BB4340D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12.937" v="2143"/>
          <ac:spMkLst>
            <pc:docMk/>
            <pc:sldMk cId="3915111650" sldId="2145707167"/>
            <ac:spMk id="13" creationId="{0E30D39A-F433-4473-8C57-4AAEF4195D18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14.842" v="2192"/>
          <ac:spMkLst>
            <pc:docMk/>
            <pc:sldMk cId="3915111650" sldId="2145707167"/>
            <ac:spMk id="14" creationId="{757B49D1-5445-4273-9ADF-C932355CF385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15.397" v="2235"/>
          <ac:spMkLst>
            <pc:docMk/>
            <pc:sldMk cId="3915111650" sldId="2145707167"/>
            <ac:spMk id="15" creationId="{FAA0700B-D709-45B7-A7CF-73C31C7FBC97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30.270" v="2371"/>
          <ac:spMkLst>
            <pc:docMk/>
            <pc:sldMk cId="3915111650" sldId="2145707167"/>
            <ac:spMk id="16" creationId="{BDFF8D59-38E6-4C34-B24B-03A86CE4F109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31.364" v="2415"/>
          <ac:spMkLst>
            <pc:docMk/>
            <pc:sldMk cId="3915111650" sldId="2145707167"/>
            <ac:spMk id="17" creationId="{66C87BB7-98E0-4B44-AB3C-3D988D4CAB6C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34.554" v="2472"/>
          <ac:spMkLst>
            <pc:docMk/>
            <pc:sldMk cId="3915111650" sldId="2145707167"/>
            <ac:spMk id="18" creationId="{4C46682D-0D06-40E3-95A9-BC1EABC1428D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38.143" v="2536"/>
          <ac:spMkLst>
            <pc:docMk/>
            <pc:sldMk cId="3915111650" sldId="2145707167"/>
            <ac:spMk id="19" creationId="{83B305A4-E6F4-4E86-906D-048457B59830}"/>
          </ac:spMkLst>
        </pc:spChg>
        <pc:spChg chg="mod">
          <ac:chgData name="Eugenio Hernandez Contreras" userId="374f78fa-7281-443b-bdfc-66b046773caf" providerId="ADAL" clId="{863909F5-FE08-4870-8738-CC816B3DB792}" dt="2022-11-22T17:21:58.536" v="4765"/>
          <ac:spMkLst>
            <pc:docMk/>
            <pc:sldMk cId="3915111650" sldId="2145707167"/>
            <ac:spMk id="20" creationId="{2A8F22E4-E887-4A4D-8370-FBEF16D8C9FA}"/>
          </ac:spMkLst>
        </pc:spChg>
        <pc:spChg chg="mod">
          <ac:chgData name="Eugenio Hernandez Contreras" userId="374f78fa-7281-443b-bdfc-66b046773caf" providerId="ADAL" clId="{863909F5-FE08-4870-8738-CC816B3DB792}" dt="2022-11-22T17:21:58.537" v="4766"/>
          <ac:spMkLst>
            <pc:docMk/>
            <pc:sldMk cId="3915111650" sldId="2145707167"/>
            <ac:spMk id="21" creationId="{2E65263F-204F-4F88-96EB-120212171C3B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40.320" v="2588"/>
          <ac:spMkLst>
            <pc:docMk/>
            <pc:sldMk cId="3915111650" sldId="2145707167"/>
            <ac:spMk id="22" creationId="{CB1ACB1A-6F9E-45E8-955D-7800702B6FF6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41.397" v="2635"/>
          <ac:spMkLst>
            <pc:docMk/>
            <pc:sldMk cId="3915111650" sldId="2145707167"/>
            <ac:spMk id="23" creationId="{F0E2A4C3-592A-4587-8282-037340F82AE2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57.779" v="2987" actId="962"/>
          <ac:spMkLst>
            <pc:docMk/>
            <pc:sldMk cId="3915111650" sldId="2145707167"/>
            <ac:spMk id="24" creationId="{B3A7021A-483A-4A0A-A69A-D850A3F8B691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57.215" v="2930" actId="962"/>
          <ac:spMkLst>
            <pc:docMk/>
            <pc:sldMk cId="3915111650" sldId="2145707167"/>
            <ac:spMk id="25" creationId="{14A05BB0-26C1-409B-824B-A9477AE543E5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56.917" v="2873" actId="962"/>
          <ac:spMkLst>
            <pc:docMk/>
            <pc:sldMk cId="3915111650" sldId="2145707167"/>
            <ac:spMk id="26" creationId="{DCFA3CD0-A23D-4B49-88EF-837F284CFD7E}"/>
          </ac:spMkLst>
        </pc:spChg>
        <pc:spChg chg="add mod ord">
          <ac:chgData name="Eugenio Hernandez Contreras" userId="374f78fa-7281-443b-bdfc-66b046773caf" providerId="ADAL" clId="{863909F5-FE08-4870-8738-CC816B3DB792}" dt="2022-11-22T17:36:54.854" v="5300" actId="164"/>
          <ac:spMkLst>
            <pc:docMk/>
            <pc:sldMk cId="3915111650" sldId="2145707167"/>
            <ac:spMk id="32" creationId="{8FF2497F-3396-4D71-AC37-F021A50B0E01}"/>
          </ac:spMkLst>
        </pc:spChg>
        <pc:spChg chg="del mod ord">
          <ac:chgData name="Eugenio Hernandez Contreras" userId="374f78fa-7281-443b-bdfc-66b046773caf" providerId="ADAL" clId="{863909F5-FE08-4870-8738-CC816B3DB792}" dt="2022-11-22T16:04:18.805" v="3651"/>
          <ac:spMkLst>
            <pc:docMk/>
            <pc:sldMk cId="3915111650" sldId="2145707167"/>
            <ac:spMk id="37" creationId="{7570071B-E8DB-405A-9725-86E6EC89690B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40" creationId="{E9924EFC-A9A1-4011-9D9C-D2C1A0D2206B}"/>
          </ac:spMkLst>
        </pc:spChg>
        <pc:spChg chg="mod ord">
          <ac:chgData name="Eugenio Hernandez Contreras" userId="374f78fa-7281-443b-bdfc-66b046773caf" providerId="ADAL" clId="{863909F5-FE08-4870-8738-CC816B3DB792}" dt="2022-11-22T17:21:58.537" v="4768"/>
          <ac:spMkLst>
            <pc:docMk/>
            <pc:sldMk cId="3915111650" sldId="2145707167"/>
            <ac:spMk id="58" creationId="{1E4D2392-9ED4-439F-98A9-5ED47C9CABF3}"/>
          </ac:spMkLst>
        </pc:spChg>
        <pc:spChg chg="del mod ord">
          <ac:chgData name="Eugenio Hernandez Contreras" userId="374f78fa-7281-443b-bdfc-66b046773caf" providerId="ADAL" clId="{863909F5-FE08-4870-8738-CC816B3DB792}" dt="2022-11-22T16:04:18.809" v="3659"/>
          <ac:spMkLst>
            <pc:docMk/>
            <pc:sldMk cId="3915111650" sldId="2145707167"/>
            <ac:spMk id="73" creationId="{D635862A-994C-4BC4-83C7-D31F96AB814C}"/>
          </ac:spMkLst>
        </pc:spChg>
        <pc:spChg chg="add mod topLvl">
          <ac:chgData name="Eugenio Hernandez Contreras" userId="374f78fa-7281-443b-bdfc-66b046773caf" providerId="ADAL" clId="{863909F5-FE08-4870-8738-CC816B3DB792}" dt="2022-11-22T17:22:06.272" v="4787" actId="207"/>
          <ac:spMkLst>
            <pc:docMk/>
            <pc:sldMk cId="3915111650" sldId="2145707167"/>
            <ac:spMk id="102" creationId="{2518E6BA-62B6-4FE6-AD4C-077136CA46F3}"/>
          </ac:spMkLst>
        </pc:spChg>
        <pc:spChg chg="add mod topLvl">
          <ac:chgData name="Eugenio Hernandez Contreras" userId="374f78fa-7281-443b-bdfc-66b046773caf" providerId="ADAL" clId="{863909F5-FE08-4870-8738-CC816B3DB792}" dt="2022-11-22T17:36:50.373" v="5299" actId="164"/>
          <ac:spMkLst>
            <pc:docMk/>
            <pc:sldMk cId="3915111650" sldId="2145707167"/>
            <ac:spMk id="105" creationId="{35607FB4-2EA8-43BC-AE40-5A829C2F718E}"/>
          </ac:spMkLst>
        </pc:spChg>
        <pc:spChg chg="add del mod">
          <ac:chgData name="Eugenio Hernandez Contreras" userId="374f78fa-7281-443b-bdfc-66b046773caf" providerId="ADAL" clId="{863909F5-FE08-4870-8738-CC816B3DB792}" dt="2022-11-22T16:22:42.209" v="4174" actId="478"/>
          <ac:spMkLst>
            <pc:docMk/>
            <pc:sldMk cId="3915111650" sldId="2145707167"/>
            <ac:spMk id="107" creationId="{A97BB241-9648-4856-A5FC-2BD315FC2A02}"/>
          </ac:spMkLst>
        </pc:spChg>
        <pc:spChg chg="add mod topLvl">
          <ac:chgData name="Eugenio Hernandez Contreras" userId="374f78fa-7281-443b-bdfc-66b046773caf" providerId="ADAL" clId="{863909F5-FE08-4870-8738-CC816B3DB792}" dt="2022-11-22T17:36:42.672" v="5297" actId="164"/>
          <ac:spMkLst>
            <pc:docMk/>
            <pc:sldMk cId="3915111650" sldId="2145707167"/>
            <ac:spMk id="109" creationId="{37E7E20C-CE4D-4B0C-A099-A91536F1888D}"/>
          </ac:spMkLst>
        </pc:spChg>
        <pc:spChg chg="add del mod">
          <ac:chgData name="Eugenio Hernandez Contreras" userId="374f78fa-7281-443b-bdfc-66b046773caf" providerId="ADAL" clId="{863909F5-FE08-4870-8738-CC816B3DB792}" dt="2022-11-22T17:11:05.172" v="4532" actId="21"/>
          <ac:spMkLst>
            <pc:docMk/>
            <pc:sldMk cId="3915111650" sldId="2145707167"/>
            <ac:spMk id="126" creationId="{BF7656EE-A6B9-4712-9343-8FA44651127A}"/>
          </ac:spMkLst>
        </pc:spChg>
        <pc:spChg chg="add del mod">
          <ac:chgData name="Eugenio Hernandez Contreras" userId="374f78fa-7281-443b-bdfc-66b046773caf" providerId="ADAL" clId="{863909F5-FE08-4870-8738-CC816B3DB792}" dt="2022-11-22T17:11:05.172" v="4532" actId="21"/>
          <ac:spMkLst>
            <pc:docMk/>
            <pc:sldMk cId="3915111650" sldId="2145707167"/>
            <ac:spMk id="127" creationId="{BC7E24EA-6344-4D1E-9685-7C2303AB8F48}"/>
          </ac:spMkLst>
        </pc:spChg>
        <pc:spChg chg="add del mod">
          <ac:chgData name="Eugenio Hernandez Contreras" userId="374f78fa-7281-443b-bdfc-66b046773caf" providerId="ADAL" clId="{863909F5-FE08-4870-8738-CC816B3DB792}" dt="2022-11-22T17:11:05.172" v="4532" actId="21"/>
          <ac:spMkLst>
            <pc:docMk/>
            <pc:sldMk cId="3915111650" sldId="2145707167"/>
            <ac:spMk id="128" creationId="{B9CF87BB-AFC1-44D5-9CED-71FC236026DB}"/>
          </ac:spMkLst>
        </pc:spChg>
        <pc:spChg chg="add mod ord">
          <ac:chgData name="Eugenio Hernandez Contreras" userId="374f78fa-7281-443b-bdfc-66b046773caf" providerId="ADAL" clId="{863909F5-FE08-4870-8738-CC816B3DB792}" dt="2022-11-22T17:37:40.072" v="5310" actId="164"/>
          <ac:spMkLst>
            <pc:docMk/>
            <pc:sldMk cId="3915111650" sldId="2145707167"/>
            <ac:spMk id="139" creationId="{F0D08744-1111-4B8A-9932-F9B81845E182}"/>
          </ac:spMkLst>
        </pc:spChg>
        <pc:spChg chg="add mod ord">
          <ac:chgData name="Eugenio Hernandez Contreras" userId="374f78fa-7281-443b-bdfc-66b046773caf" providerId="ADAL" clId="{863909F5-FE08-4870-8738-CC816B3DB792}" dt="2022-11-22T17:36:42.672" v="5297" actId="164"/>
          <ac:spMkLst>
            <pc:docMk/>
            <pc:sldMk cId="3915111650" sldId="2145707167"/>
            <ac:spMk id="140" creationId="{68D83E6C-2C5F-4A2F-80D0-C91EACBC21E6}"/>
          </ac:spMkLst>
        </pc:spChg>
        <pc:spChg chg="del mod ord">
          <ac:chgData name="Eugenio Hernandez Contreras" userId="374f78fa-7281-443b-bdfc-66b046773caf" providerId="ADAL" clId="{863909F5-FE08-4870-8738-CC816B3DB792}" dt="2022-11-22T15:38:26.254" v="1948" actId="478"/>
          <ac:spMkLst>
            <pc:docMk/>
            <pc:sldMk cId="3915111650" sldId="2145707167"/>
            <ac:spMk id="143" creationId="{9CA5FFF1-16E9-4164-8742-2E32766EAF8A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53" creationId="{128FFAE1-2460-41D4-B954-1593F8C6A0F7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54" creationId="{1F2029A9-996E-46C8-8DF1-E6CE090F2C81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55" creationId="{4CF742D0-6F44-419A-869E-39E97712F5F9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56" creationId="{D419A079-56D6-4486-B305-6033CB78A8E4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57" creationId="{A7FF180A-F886-4DD8-9178-97130F58DA4E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58" creationId="{B8908EC4-5ACA-4ADB-9A81-D5CA94D992E4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59" creationId="{C08BBB1F-3467-4D31-99D6-23057E1AD577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60" creationId="{5440FF5C-E2C7-495B-AC5D-54C23B813391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61" creationId="{E0BDA573-D914-4E48-B970-04544B18F6EA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62" creationId="{E26EE7C4-A7AA-44B8-BFB8-A2F88461597C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84" creationId="{5E9047BA-004A-450E-97A3-BC0246E14DA7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85" creationId="{D52A9CCF-D566-422A-8904-2F2626337D67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86" creationId="{ED978AB1-B2EE-4A8F-8B74-87D66885BCED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90" creationId="{B892C48B-7615-4114-99F0-88E2F222E00E}"/>
          </ac:spMkLst>
        </pc:spChg>
        <pc:spChg chg="del mod ord">
          <ac:chgData name="Eugenio Hernandez Contreras" userId="374f78fa-7281-443b-bdfc-66b046773caf" providerId="ADAL" clId="{863909F5-FE08-4870-8738-CC816B3DB792}" dt="2022-11-22T15:38:51.876" v="1949" actId="478"/>
          <ac:spMkLst>
            <pc:docMk/>
            <pc:sldMk cId="3915111650" sldId="2145707167"/>
            <ac:spMk id="295" creationId="{0F402A52-5796-418C-8E99-8D1435058309}"/>
          </ac:spMkLst>
        </pc:spChg>
        <pc:spChg chg="del mod ord">
          <ac:chgData name="Eugenio Hernandez Contreras" userId="374f78fa-7281-443b-bdfc-66b046773caf" providerId="ADAL" clId="{863909F5-FE08-4870-8738-CC816B3DB792}" dt="2022-11-22T16:04:18.821" v="3683"/>
          <ac:spMkLst>
            <pc:docMk/>
            <pc:sldMk cId="3915111650" sldId="2145707167"/>
            <ac:spMk id="297" creationId="{0B576682-EF43-4CB4-B24D-929BCB64B0B5}"/>
          </ac:spMkLst>
        </pc:spChg>
        <pc:spChg chg="del mod ord">
          <ac:chgData name="Eugenio Hernandez Contreras" userId="374f78fa-7281-443b-bdfc-66b046773caf" providerId="ADAL" clId="{863909F5-FE08-4870-8738-CC816B3DB792}" dt="2022-11-22T16:04:18.822" v="3685"/>
          <ac:spMkLst>
            <pc:docMk/>
            <pc:sldMk cId="3915111650" sldId="2145707167"/>
            <ac:spMk id="300" creationId="{063A8B36-D098-4363-9566-9772200CB6A6}"/>
          </ac:spMkLst>
        </pc:spChg>
        <pc:spChg chg="del mod ord">
          <ac:chgData name="Eugenio Hernandez Contreras" userId="374f78fa-7281-443b-bdfc-66b046773caf" providerId="ADAL" clId="{863909F5-FE08-4870-8738-CC816B3DB792}" dt="2022-11-22T16:04:18.834" v="3703"/>
          <ac:spMkLst>
            <pc:docMk/>
            <pc:sldMk cId="3915111650" sldId="2145707167"/>
            <ac:spMk id="302" creationId="{F76778FF-FA19-44C5-A6B2-C0593585C092}"/>
          </ac:spMkLst>
        </pc:spChg>
        <pc:spChg chg="del mod ord">
          <ac:chgData name="Eugenio Hernandez Contreras" userId="374f78fa-7281-443b-bdfc-66b046773caf" providerId="ADAL" clId="{863909F5-FE08-4870-8738-CC816B3DB792}" dt="2022-11-22T16:04:18.818" v="3677"/>
          <ac:spMkLst>
            <pc:docMk/>
            <pc:sldMk cId="3915111650" sldId="2145707167"/>
            <ac:spMk id="303" creationId="{EDDD3001-46E9-4B42-A774-0E882E2374EF}"/>
          </ac:spMkLst>
        </pc:spChg>
        <pc:spChg chg="del mod ord">
          <ac:chgData name="Eugenio Hernandez Contreras" userId="374f78fa-7281-443b-bdfc-66b046773caf" providerId="ADAL" clId="{863909F5-FE08-4870-8738-CC816B3DB792}" dt="2022-11-22T16:04:18.826" v="3691"/>
          <ac:spMkLst>
            <pc:docMk/>
            <pc:sldMk cId="3915111650" sldId="2145707167"/>
            <ac:spMk id="304" creationId="{CEA694D2-F401-46FB-A0B8-AAF0E7B6ABCE}"/>
          </ac:spMkLst>
        </pc:spChg>
        <pc:spChg chg="del mod ord">
          <ac:chgData name="Eugenio Hernandez Contreras" userId="374f78fa-7281-443b-bdfc-66b046773caf" providerId="ADAL" clId="{863909F5-FE08-4870-8738-CC816B3DB792}" dt="2022-11-22T16:04:18.830" v="3699"/>
          <ac:spMkLst>
            <pc:docMk/>
            <pc:sldMk cId="3915111650" sldId="2145707167"/>
            <ac:spMk id="306" creationId="{875FD60E-CB70-4048-977A-283C3054D726}"/>
          </ac:spMkLst>
        </pc:spChg>
        <pc:spChg chg="del mod ord">
          <ac:chgData name="Eugenio Hernandez Contreras" userId="374f78fa-7281-443b-bdfc-66b046773caf" providerId="ADAL" clId="{863909F5-FE08-4870-8738-CC816B3DB792}" dt="2022-11-22T16:04:18.815" v="3671"/>
          <ac:spMkLst>
            <pc:docMk/>
            <pc:sldMk cId="3915111650" sldId="2145707167"/>
            <ac:spMk id="309" creationId="{94ECFC95-2AEE-4D50-96E8-154AAD5000C0}"/>
          </ac:spMkLst>
        </pc:spChg>
        <pc:spChg chg="del mod ord">
          <ac:chgData name="Eugenio Hernandez Contreras" userId="374f78fa-7281-443b-bdfc-66b046773caf" providerId="ADAL" clId="{863909F5-FE08-4870-8738-CC816B3DB792}" dt="2022-11-22T16:04:18.824" v="3689"/>
          <ac:spMkLst>
            <pc:docMk/>
            <pc:sldMk cId="3915111650" sldId="2145707167"/>
            <ac:spMk id="310" creationId="{A17790B6-3F23-420D-9214-1E6A71206B58}"/>
          </ac:spMkLst>
        </pc:spChg>
        <pc:spChg chg="del mod ord">
          <ac:chgData name="Eugenio Hernandez Contreras" userId="374f78fa-7281-443b-bdfc-66b046773caf" providerId="ADAL" clId="{863909F5-FE08-4870-8738-CC816B3DB792}" dt="2022-11-22T16:04:18.816" v="3673"/>
          <ac:spMkLst>
            <pc:docMk/>
            <pc:sldMk cId="3915111650" sldId="2145707167"/>
            <ac:spMk id="312" creationId="{0FA14468-FFD6-4C5C-AB5E-C80CB1CE8B92}"/>
          </ac:spMkLst>
        </pc:spChg>
        <pc:spChg chg="del mod ord">
          <ac:chgData name="Eugenio Hernandez Contreras" userId="374f78fa-7281-443b-bdfc-66b046773caf" providerId="ADAL" clId="{863909F5-FE08-4870-8738-CC816B3DB792}" dt="2022-11-22T16:04:18.817" v="3675"/>
          <ac:spMkLst>
            <pc:docMk/>
            <pc:sldMk cId="3915111650" sldId="2145707167"/>
            <ac:spMk id="314" creationId="{B85CEB04-14F9-49FB-B51D-EE5F72FE2D29}"/>
          </ac:spMkLst>
        </pc:spChg>
        <pc:spChg chg="del mod ord">
          <ac:chgData name="Eugenio Hernandez Contreras" userId="374f78fa-7281-443b-bdfc-66b046773caf" providerId="ADAL" clId="{863909F5-FE08-4870-8738-CC816B3DB792}" dt="2022-11-22T16:04:18.827" v="3693"/>
          <ac:spMkLst>
            <pc:docMk/>
            <pc:sldMk cId="3915111650" sldId="2145707167"/>
            <ac:spMk id="316" creationId="{A5058C9B-E452-4426-8AC3-EC7835026FF9}"/>
          </ac:spMkLst>
        </pc:spChg>
        <pc:spChg chg="del mod ord">
          <ac:chgData name="Eugenio Hernandez Contreras" userId="374f78fa-7281-443b-bdfc-66b046773caf" providerId="ADAL" clId="{863909F5-FE08-4870-8738-CC816B3DB792}" dt="2022-11-22T16:04:18.819" v="3679"/>
          <ac:spMkLst>
            <pc:docMk/>
            <pc:sldMk cId="3915111650" sldId="2145707167"/>
            <ac:spMk id="318" creationId="{2B6BC223-6AD0-4CD0-BBDB-AFC4A714EE5C}"/>
          </ac:spMkLst>
        </pc:spChg>
        <pc:spChg chg="del mod ord">
          <ac:chgData name="Eugenio Hernandez Contreras" userId="374f78fa-7281-443b-bdfc-66b046773caf" providerId="ADAL" clId="{863909F5-FE08-4870-8738-CC816B3DB792}" dt="2022-11-22T16:04:18.820" v="3681"/>
          <ac:spMkLst>
            <pc:docMk/>
            <pc:sldMk cId="3915111650" sldId="2145707167"/>
            <ac:spMk id="319" creationId="{7B657F3C-7B66-44DC-A05A-63FE5DC4840B}"/>
          </ac:spMkLst>
        </pc:spChg>
        <pc:spChg chg="del mod ord">
          <ac:chgData name="Eugenio Hernandez Contreras" userId="374f78fa-7281-443b-bdfc-66b046773caf" providerId="ADAL" clId="{863909F5-FE08-4870-8738-CC816B3DB792}" dt="2022-11-22T16:04:18.828" v="3695"/>
          <ac:spMkLst>
            <pc:docMk/>
            <pc:sldMk cId="3915111650" sldId="2145707167"/>
            <ac:spMk id="320" creationId="{59BFE7D1-C4C7-422D-A430-1F90B7966A7F}"/>
          </ac:spMkLst>
        </pc:spChg>
        <pc:spChg chg="del mod ord">
          <ac:chgData name="Eugenio Hernandez Contreras" userId="374f78fa-7281-443b-bdfc-66b046773caf" providerId="ADAL" clId="{863909F5-FE08-4870-8738-CC816B3DB792}" dt="2022-11-22T16:04:18.831" v="3701"/>
          <ac:spMkLst>
            <pc:docMk/>
            <pc:sldMk cId="3915111650" sldId="2145707167"/>
            <ac:spMk id="325" creationId="{F0D8CDD0-6744-458F-82BB-1A639401E690}"/>
          </ac:spMkLst>
        </pc:spChg>
        <pc:spChg chg="del mod ord">
          <ac:chgData name="Eugenio Hernandez Contreras" userId="374f78fa-7281-443b-bdfc-66b046773caf" providerId="ADAL" clId="{863909F5-FE08-4870-8738-CC816B3DB792}" dt="2022-11-22T16:04:18.835" v="3705"/>
          <ac:spMkLst>
            <pc:docMk/>
            <pc:sldMk cId="3915111650" sldId="2145707167"/>
            <ac:spMk id="416" creationId="{A3B0DD5B-E9A4-42CD-B795-B9ED9E4BFA32}"/>
          </ac:spMkLst>
        </pc:spChg>
        <pc:spChg chg="del mod ord">
          <ac:chgData name="Eugenio Hernandez Contreras" userId="374f78fa-7281-443b-bdfc-66b046773caf" providerId="ADAL" clId="{863909F5-FE08-4870-8738-CC816B3DB792}" dt="2022-11-22T16:04:18.814" v="3669"/>
          <ac:spMkLst>
            <pc:docMk/>
            <pc:sldMk cId="3915111650" sldId="2145707167"/>
            <ac:spMk id="418" creationId="{8A1DEBB4-1CC8-40B6-A170-FDD97507942A}"/>
          </ac:spMkLst>
        </pc:spChg>
        <pc:spChg chg="del mod ord">
          <ac:chgData name="Eugenio Hernandez Contreras" userId="374f78fa-7281-443b-bdfc-66b046773caf" providerId="ADAL" clId="{863909F5-FE08-4870-8738-CC816B3DB792}" dt="2022-11-22T16:04:18.807" v="3655"/>
          <ac:spMkLst>
            <pc:docMk/>
            <pc:sldMk cId="3915111650" sldId="2145707167"/>
            <ac:spMk id="419" creationId="{F87E6F47-1D5B-4344-96F8-C0E78F9DC399}"/>
          </ac:spMkLst>
        </pc:spChg>
        <pc:spChg chg="del mod ord">
          <ac:chgData name="Eugenio Hernandez Contreras" userId="374f78fa-7281-443b-bdfc-66b046773caf" providerId="ADAL" clId="{863909F5-FE08-4870-8738-CC816B3DB792}" dt="2022-11-22T16:04:18.811" v="3663"/>
          <ac:spMkLst>
            <pc:docMk/>
            <pc:sldMk cId="3915111650" sldId="2145707167"/>
            <ac:spMk id="421" creationId="{28712744-E7F1-4A66-BA4B-E6B599954D28}"/>
          </ac:spMkLst>
        </pc:spChg>
        <pc:spChg chg="del mod ord">
          <ac:chgData name="Eugenio Hernandez Contreras" userId="374f78fa-7281-443b-bdfc-66b046773caf" providerId="ADAL" clId="{863909F5-FE08-4870-8738-CC816B3DB792}" dt="2022-11-22T16:04:18.808" v="3657"/>
          <ac:spMkLst>
            <pc:docMk/>
            <pc:sldMk cId="3915111650" sldId="2145707167"/>
            <ac:spMk id="422" creationId="{3A26AC29-8B5A-46A6-93AB-1F2F40E7E208}"/>
          </ac:spMkLst>
        </pc:spChg>
        <pc:spChg chg="del mod ord">
          <ac:chgData name="Eugenio Hernandez Contreras" userId="374f78fa-7281-443b-bdfc-66b046773caf" providerId="ADAL" clId="{863909F5-FE08-4870-8738-CC816B3DB792}" dt="2022-11-22T16:04:18.806" v="3653"/>
          <ac:spMkLst>
            <pc:docMk/>
            <pc:sldMk cId="3915111650" sldId="2145707167"/>
            <ac:spMk id="423" creationId="{86D23091-0372-4036-8786-9EBB27270470}"/>
          </ac:spMkLst>
        </pc:spChg>
        <pc:spChg chg="del mod ord">
          <ac:chgData name="Eugenio Hernandez Contreras" userId="374f78fa-7281-443b-bdfc-66b046773caf" providerId="ADAL" clId="{863909F5-FE08-4870-8738-CC816B3DB792}" dt="2022-11-22T16:04:18.810" v="3661"/>
          <ac:spMkLst>
            <pc:docMk/>
            <pc:sldMk cId="3915111650" sldId="2145707167"/>
            <ac:spMk id="424" creationId="{0691EEB4-ED29-486B-9CB1-131F725FA40F}"/>
          </ac:spMkLst>
        </pc:spChg>
        <pc:spChg chg="del mod ord">
          <ac:chgData name="Eugenio Hernandez Contreras" userId="374f78fa-7281-443b-bdfc-66b046773caf" providerId="ADAL" clId="{863909F5-FE08-4870-8738-CC816B3DB792}" dt="2022-11-22T16:04:18.812" v="3665"/>
          <ac:spMkLst>
            <pc:docMk/>
            <pc:sldMk cId="3915111650" sldId="2145707167"/>
            <ac:spMk id="425" creationId="{4055F9D5-DF6B-4E5B-942F-FB6ABA962E4B}"/>
          </ac:spMkLst>
        </pc:spChg>
        <pc:spChg chg="del mod ord">
          <ac:chgData name="Eugenio Hernandez Contreras" userId="374f78fa-7281-443b-bdfc-66b046773caf" providerId="ADAL" clId="{863909F5-FE08-4870-8738-CC816B3DB792}" dt="2022-11-22T16:04:18.813" v="3667"/>
          <ac:spMkLst>
            <pc:docMk/>
            <pc:sldMk cId="3915111650" sldId="2145707167"/>
            <ac:spMk id="426" creationId="{865B86D6-3FA4-4B39-9957-B4E3B06B3B41}"/>
          </ac:spMkLst>
        </pc:spChg>
        <pc:grpChg chg="add mod">
          <ac:chgData name="Eugenio Hernandez Contreras" userId="374f78fa-7281-443b-bdfc-66b046773caf" providerId="ADAL" clId="{863909F5-FE08-4870-8738-CC816B3DB792}" dt="2022-11-22T17:38:01.118" v="5315" actId="12788"/>
          <ac:grpSpMkLst>
            <pc:docMk/>
            <pc:sldMk cId="3915111650" sldId="2145707167"/>
            <ac:grpSpMk id="33" creationId="{8DF1E0E8-25D7-4B41-8F02-A980ABA13DF2}"/>
          </ac:grpSpMkLst>
        </pc:grpChg>
        <pc:grpChg chg="add mod">
          <ac:chgData name="Eugenio Hernandez Contreras" userId="374f78fa-7281-443b-bdfc-66b046773caf" providerId="ADAL" clId="{863909F5-FE08-4870-8738-CC816B3DB792}" dt="2022-11-22T17:37:40.072" v="5310" actId="164"/>
          <ac:grpSpMkLst>
            <pc:docMk/>
            <pc:sldMk cId="3915111650" sldId="2145707167"/>
            <ac:grpSpMk id="34" creationId="{0FA67E00-DF5A-414F-8D09-E534A2F51AC2}"/>
          </ac:grpSpMkLst>
        </pc:grpChg>
        <pc:grpChg chg="add mod">
          <ac:chgData name="Eugenio Hernandez Contreras" userId="374f78fa-7281-443b-bdfc-66b046773caf" providerId="ADAL" clId="{863909F5-FE08-4870-8738-CC816B3DB792}" dt="2022-11-22T17:37:56.029" v="5313" actId="12788"/>
          <ac:grpSpMkLst>
            <pc:docMk/>
            <pc:sldMk cId="3915111650" sldId="2145707167"/>
            <ac:grpSpMk id="35" creationId="{87FCD43E-BDE8-452F-B5D1-2CBD27F798AA}"/>
          </ac:grpSpMkLst>
        </pc:grpChg>
        <pc:grpChg chg="add mod">
          <ac:chgData name="Eugenio Hernandez Contreras" userId="374f78fa-7281-443b-bdfc-66b046773caf" providerId="ADAL" clId="{863909F5-FE08-4870-8738-CC816B3DB792}" dt="2022-11-22T17:37:58.590" v="5314" actId="12788"/>
          <ac:grpSpMkLst>
            <pc:docMk/>
            <pc:sldMk cId="3915111650" sldId="2145707167"/>
            <ac:grpSpMk id="38" creationId="{742973AD-4534-4AE8-B48C-B8D1FE81EB04}"/>
          </ac:grpSpMkLst>
        </pc:grpChg>
        <pc:grpChg chg="add del mod topLvl">
          <ac:chgData name="Eugenio Hernandez Contreras" userId="374f78fa-7281-443b-bdfc-66b046773caf" providerId="ADAL" clId="{863909F5-FE08-4870-8738-CC816B3DB792}" dt="2022-11-22T16:22:14.521" v="4167" actId="165"/>
          <ac:grpSpMkLst>
            <pc:docMk/>
            <pc:sldMk cId="3915111650" sldId="2145707167"/>
            <ac:grpSpMk id="227" creationId="{A51DE59B-FFA3-4110-83F1-E7407BF9F9E0}"/>
          </ac:grpSpMkLst>
        </pc:grpChg>
        <pc:grpChg chg="add del mod topLvl">
          <ac:chgData name="Eugenio Hernandez Contreras" userId="374f78fa-7281-443b-bdfc-66b046773caf" providerId="ADAL" clId="{863909F5-FE08-4870-8738-CC816B3DB792}" dt="2022-11-22T16:22:14.521" v="4167" actId="165"/>
          <ac:grpSpMkLst>
            <pc:docMk/>
            <pc:sldMk cId="3915111650" sldId="2145707167"/>
            <ac:grpSpMk id="228" creationId="{61A876BB-834F-4C56-9EFF-7F6363C72F9F}"/>
          </ac:grpSpMkLst>
        </pc:grpChg>
        <pc:grpChg chg="add del mod topLvl">
          <ac:chgData name="Eugenio Hernandez Contreras" userId="374f78fa-7281-443b-bdfc-66b046773caf" providerId="ADAL" clId="{863909F5-FE08-4870-8738-CC816B3DB792}" dt="2022-11-22T16:22:14.521" v="4167" actId="165"/>
          <ac:grpSpMkLst>
            <pc:docMk/>
            <pc:sldMk cId="3915111650" sldId="2145707167"/>
            <ac:grpSpMk id="229" creationId="{B2E7770D-E845-44FB-BE72-BCE40B7E37C5}"/>
          </ac:grpSpMkLst>
        </pc:grpChg>
        <pc:grpChg chg="add del mod">
          <ac:chgData name="Eugenio Hernandez Contreras" userId="374f78fa-7281-443b-bdfc-66b046773caf" providerId="ADAL" clId="{863909F5-FE08-4870-8738-CC816B3DB792}" dt="2022-11-22T16:10:38.088" v="3798" actId="165"/>
          <ac:grpSpMkLst>
            <pc:docMk/>
            <pc:sldMk cId="3915111650" sldId="2145707167"/>
            <ac:grpSpMk id="230" creationId="{AE5A360A-DA20-4F8F-A60C-EF059A170802}"/>
          </ac:grpSpMkLst>
        </pc:grpChg>
        <pc:grpChg chg="add del mod">
          <ac:chgData name="Eugenio Hernandez Contreras" userId="374f78fa-7281-443b-bdfc-66b046773caf" providerId="ADAL" clId="{863909F5-FE08-4870-8738-CC816B3DB792}" dt="2022-11-22T16:10:38.088" v="3798" actId="165"/>
          <ac:grpSpMkLst>
            <pc:docMk/>
            <pc:sldMk cId="3915111650" sldId="2145707167"/>
            <ac:grpSpMk id="231" creationId="{53EC13C8-9165-447B-9242-63027943582E}"/>
          </ac:grpSpMkLst>
        </pc:grpChg>
        <pc:grpChg chg="add del mod">
          <ac:chgData name="Eugenio Hernandez Contreras" userId="374f78fa-7281-443b-bdfc-66b046773caf" providerId="ADAL" clId="{863909F5-FE08-4870-8738-CC816B3DB792}" dt="2022-11-22T16:10:38.088" v="3798" actId="165"/>
          <ac:grpSpMkLst>
            <pc:docMk/>
            <pc:sldMk cId="3915111650" sldId="2145707167"/>
            <ac:grpSpMk id="232" creationId="{874BE420-10A6-4CF9-8E0C-A99216BC36E6}"/>
          </ac:grpSpMkLst>
        </pc:grpChg>
        <pc:grpChg chg="add del mod">
          <ac:chgData name="Eugenio Hernandez Contreras" userId="374f78fa-7281-443b-bdfc-66b046773caf" providerId="ADAL" clId="{863909F5-FE08-4870-8738-CC816B3DB792}" dt="2022-11-22T17:12:42.776" v="4551" actId="165"/>
          <ac:grpSpMkLst>
            <pc:docMk/>
            <pc:sldMk cId="3915111650" sldId="2145707167"/>
            <ac:grpSpMk id="240" creationId="{E15303DB-4D23-4841-A07D-052D12023668}"/>
          </ac:grpSpMkLst>
        </pc:grpChg>
        <pc:grpChg chg="add del mod">
          <ac:chgData name="Eugenio Hernandez Contreras" userId="374f78fa-7281-443b-bdfc-66b046773caf" providerId="ADAL" clId="{863909F5-FE08-4870-8738-CC816B3DB792}" dt="2022-11-22T17:12:47.986" v="4553" actId="165"/>
          <ac:grpSpMkLst>
            <pc:docMk/>
            <pc:sldMk cId="3915111650" sldId="2145707167"/>
            <ac:grpSpMk id="241" creationId="{FFE16316-AD63-4AFB-8003-2B6C58950319}"/>
          </ac:grpSpMkLst>
        </pc:grpChg>
        <pc:grpChg chg="add del mod">
          <ac:chgData name="Eugenio Hernandez Contreras" userId="374f78fa-7281-443b-bdfc-66b046773caf" providerId="ADAL" clId="{863909F5-FE08-4870-8738-CC816B3DB792}" dt="2022-11-22T17:12:45.056" v="4552" actId="165"/>
          <ac:grpSpMkLst>
            <pc:docMk/>
            <pc:sldMk cId="3915111650" sldId="2145707167"/>
            <ac:grpSpMk id="242" creationId="{95680649-6667-43F1-9520-57077CA3F873}"/>
          </ac:grpSpMkLst>
        </pc:grpChg>
        <pc:grpChg chg="add mod ord">
          <ac:chgData name="Eugenio Hernandez Contreras" userId="374f78fa-7281-443b-bdfc-66b046773caf" providerId="ADAL" clId="{863909F5-FE08-4870-8738-CC816B3DB792}" dt="2022-11-22T17:36:54.854" v="5300" actId="164"/>
          <ac:grpSpMkLst>
            <pc:docMk/>
            <pc:sldMk cId="3915111650" sldId="2145707167"/>
            <ac:grpSpMk id="243" creationId="{F39DCC35-6C82-4A57-BA27-3A3A67C12EB6}"/>
          </ac:grpSpMkLst>
        </pc:grpChg>
        <pc:grpChg chg="add del mod ord">
          <ac:chgData name="Eugenio Hernandez Contreras" userId="374f78fa-7281-443b-bdfc-66b046773caf" providerId="ADAL" clId="{863909F5-FE08-4870-8738-CC816B3DB792}" dt="2022-11-22T17:36:49.958" v="5298" actId="165"/>
          <ac:grpSpMkLst>
            <pc:docMk/>
            <pc:sldMk cId="3915111650" sldId="2145707167"/>
            <ac:grpSpMk id="244" creationId="{61A40470-4B7C-4517-A0D2-17814CE44088}"/>
          </ac:grpSpMkLst>
        </pc:grpChg>
        <pc:grpChg chg="add del mod ord">
          <ac:chgData name="Eugenio Hernandez Contreras" userId="374f78fa-7281-443b-bdfc-66b046773caf" providerId="ADAL" clId="{863909F5-FE08-4870-8738-CC816B3DB792}" dt="2022-11-22T17:36:27.862" v="5295" actId="165"/>
          <ac:grpSpMkLst>
            <pc:docMk/>
            <pc:sldMk cId="3915111650" sldId="2145707167"/>
            <ac:grpSpMk id="245" creationId="{91B65749-2E88-432C-9A08-2FDAFE8621FE}"/>
          </ac:grpSpMkLst>
        </pc:grpChg>
        <pc:graphicFrameChg chg="mod">
          <ac:chgData name="Eugenio Hernandez Contreras" userId="374f78fa-7281-443b-bdfc-66b046773caf" providerId="ADAL" clId="{863909F5-FE08-4870-8738-CC816B3DB792}" dt="2022-11-22T17:21:58.544" v="4786"/>
          <ac:graphicFrameMkLst>
            <pc:docMk/>
            <pc:sldMk cId="3915111650" sldId="2145707167"/>
            <ac:graphicFrameMk id="4" creationId="{C0B58E41-F8CD-43A8-B9AD-2D3B6C44886B}"/>
          </ac:graphicFrameMkLst>
        </pc:graphicFrameChg>
        <pc:graphicFrameChg chg="add del mod">
          <ac:chgData name="Eugenio Hernandez Contreras" userId="374f78fa-7281-443b-bdfc-66b046773caf" providerId="ADAL" clId="{863909F5-FE08-4870-8738-CC816B3DB792}" dt="2022-11-22T15:37:55.862" v="1444"/>
          <ac:graphicFrameMkLst>
            <pc:docMk/>
            <pc:sldMk cId="3915111650" sldId="2145707167"/>
            <ac:graphicFrameMk id="70" creationId="{75572E83-FD08-4295-A06B-266A05C4DEED}"/>
          </ac:graphicFrameMkLst>
        </pc:graphicFrameChg>
        <pc:graphicFrameChg chg="add del mod">
          <ac:chgData name="Eugenio Hernandez Contreras" userId="374f78fa-7281-443b-bdfc-66b046773caf" providerId="ADAL" clId="{863909F5-FE08-4870-8738-CC816B3DB792}" dt="2022-11-22T15:38:16.094" v="1809"/>
          <ac:graphicFrameMkLst>
            <pc:docMk/>
            <pc:sldMk cId="3915111650" sldId="2145707167"/>
            <ac:graphicFrameMk id="71" creationId="{060EEB26-A010-464C-8044-B7EA8A3F85C7}"/>
          </ac:graphicFrameMkLst>
        </pc:graphicFrameChg>
        <pc:graphicFrameChg chg="add del mod">
          <ac:chgData name="Eugenio Hernandez Contreras" userId="374f78fa-7281-443b-bdfc-66b046773caf" providerId="ADAL" clId="{863909F5-FE08-4870-8738-CC816B3DB792}" dt="2022-11-22T16:04:18.802" v="3649"/>
          <ac:graphicFrameMkLst>
            <pc:docMk/>
            <pc:sldMk cId="3915111650" sldId="2145707167"/>
            <ac:graphicFrameMk id="77" creationId="{36EE5665-DA98-4F24-BB16-7A720796341A}"/>
          </ac:graphicFrameMkLst>
        </pc:graphicFrameChg>
        <pc:graphicFrameChg chg="del">
          <ac:chgData name="Eugenio Hernandez Contreras" userId="374f78fa-7281-443b-bdfc-66b046773caf" providerId="ADAL" clId="{863909F5-FE08-4870-8738-CC816B3DB792}" dt="2022-11-22T15:37:54.742" v="1300"/>
          <ac:graphicFrameMkLst>
            <pc:docMk/>
            <pc:sldMk cId="3915111650" sldId="2145707167"/>
            <ac:graphicFrameMk id="83" creationId="{21AF634A-65C3-4244-961D-3F45363F55CE}"/>
          </ac:graphicFrameMkLst>
        </pc:graphicFrameChg>
        <pc:picChg chg="add del mod ord topLvl">
          <ac:chgData name="Eugenio Hernandez Contreras" userId="374f78fa-7281-443b-bdfc-66b046773caf" providerId="ADAL" clId="{863909F5-FE08-4870-8738-CC816B3DB792}" dt="2022-11-22T17:37:56.029" v="5313" actId="12788"/>
          <ac:picMkLst>
            <pc:docMk/>
            <pc:sldMk cId="3915111650" sldId="2145707167"/>
            <ac:picMk id="28" creationId="{5BCD74F4-4BD9-4FB1-9728-81B0330F09F5}"/>
          </ac:picMkLst>
        </pc:picChg>
        <pc:picChg chg="add mod ord topLvl">
          <ac:chgData name="Eugenio Hernandez Contreras" userId="374f78fa-7281-443b-bdfc-66b046773caf" providerId="ADAL" clId="{863909F5-FE08-4870-8738-CC816B3DB792}" dt="2022-11-22T17:37:58.590" v="5314" actId="12788"/>
          <ac:picMkLst>
            <pc:docMk/>
            <pc:sldMk cId="3915111650" sldId="2145707167"/>
            <ac:picMk id="30" creationId="{25AD5B21-B722-41E8-A6D6-18E8C006FC34}"/>
          </ac:picMkLst>
        </pc:picChg>
        <pc:picChg chg="del mod ord">
          <ac:chgData name="Eugenio Hernandez Contreras" userId="374f78fa-7281-443b-bdfc-66b046773caf" providerId="ADAL" clId="{863909F5-FE08-4870-8738-CC816B3DB792}" dt="2022-11-22T15:38:51.876" v="1949" actId="478"/>
          <ac:picMkLst>
            <pc:docMk/>
            <pc:sldMk cId="3915111650" sldId="2145707167"/>
            <ac:picMk id="44" creationId="{F8FFB11C-D2F9-4890-9A76-0083B63A459D}"/>
          </ac:picMkLst>
        </pc:picChg>
        <pc:picChg chg="del mod ord">
          <ac:chgData name="Eugenio Hernandez Contreras" userId="374f78fa-7281-443b-bdfc-66b046773caf" providerId="ADAL" clId="{863909F5-FE08-4870-8738-CC816B3DB792}" dt="2022-11-22T15:38:51.876" v="1949" actId="478"/>
          <ac:picMkLst>
            <pc:docMk/>
            <pc:sldMk cId="3915111650" sldId="2145707167"/>
            <ac:picMk id="46" creationId="{5711748C-D7DB-4F7F-B86E-9EE181E8F6AC}"/>
          </ac:picMkLst>
        </pc:picChg>
        <pc:picChg chg="del mod ord">
          <ac:chgData name="Eugenio Hernandez Contreras" userId="374f78fa-7281-443b-bdfc-66b046773caf" providerId="ADAL" clId="{863909F5-FE08-4870-8738-CC816B3DB792}" dt="2022-11-22T15:38:51.876" v="1949" actId="478"/>
          <ac:picMkLst>
            <pc:docMk/>
            <pc:sldMk cId="3915111650" sldId="2145707167"/>
            <ac:picMk id="48" creationId="{243F7451-8290-4991-A4E9-10196A9CA826}"/>
          </ac:picMkLst>
        </pc:picChg>
        <pc:picChg chg="del mod ord">
          <ac:chgData name="Eugenio Hernandez Contreras" userId="374f78fa-7281-443b-bdfc-66b046773caf" providerId="ADAL" clId="{863909F5-FE08-4870-8738-CC816B3DB792}" dt="2022-11-22T15:38:51.876" v="1949" actId="478"/>
          <ac:picMkLst>
            <pc:docMk/>
            <pc:sldMk cId="3915111650" sldId="2145707167"/>
            <ac:picMk id="50" creationId="{A761C728-E2F3-4E5A-94FC-C8FC08E2E959}"/>
          </ac:picMkLst>
        </pc:picChg>
        <pc:picChg chg="del mod ord">
          <ac:chgData name="Eugenio Hernandez Contreras" userId="374f78fa-7281-443b-bdfc-66b046773caf" providerId="ADAL" clId="{863909F5-FE08-4870-8738-CC816B3DB792}" dt="2022-11-22T15:38:51.876" v="1949" actId="478"/>
          <ac:picMkLst>
            <pc:docMk/>
            <pc:sldMk cId="3915111650" sldId="2145707167"/>
            <ac:picMk id="52" creationId="{448DDFF4-4C66-498F-B764-D0F84ABCB0F2}"/>
          </ac:picMkLst>
        </pc:picChg>
        <pc:picChg chg="add del mod">
          <ac:chgData name="Eugenio Hernandez Contreras" userId="374f78fa-7281-443b-bdfc-66b046773caf" providerId="ADAL" clId="{863909F5-FE08-4870-8738-CC816B3DB792}" dt="2022-11-22T17:11:05.172" v="4532" actId="21"/>
          <ac:picMkLst>
            <pc:docMk/>
            <pc:sldMk cId="3915111650" sldId="2145707167"/>
            <ac:picMk id="129" creationId="{466C7413-EB2B-4E35-95C0-F7FA876A4411}"/>
          </ac:picMkLst>
        </pc:picChg>
        <pc:picChg chg="add del mod">
          <ac:chgData name="Eugenio Hernandez Contreras" userId="374f78fa-7281-443b-bdfc-66b046773caf" providerId="ADAL" clId="{863909F5-FE08-4870-8738-CC816B3DB792}" dt="2022-11-22T17:11:05.172" v="4532" actId="21"/>
          <ac:picMkLst>
            <pc:docMk/>
            <pc:sldMk cId="3915111650" sldId="2145707167"/>
            <ac:picMk id="130" creationId="{AC4829A5-513C-49BC-A77C-25D1B8FE5EB1}"/>
          </ac:picMkLst>
        </pc:picChg>
        <pc:picChg chg="add del mod">
          <ac:chgData name="Eugenio Hernandez Contreras" userId="374f78fa-7281-443b-bdfc-66b046773caf" providerId="ADAL" clId="{863909F5-FE08-4870-8738-CC816B3DB792}" dt="2022-11-22T17:11:05.172" v="4532" actId="21"/>
          <ac:picMkLst>
            <pc:docMk/>
            <pc:sldMk cId="3915111650" sldId="2145707167"/>
            <ac:picMk id="131" creationId="{59C21492-36B0-498D-858F-4D542F40F80C}"/>
          </ac:picMkLst>
        </pc:picChg>
        <pc:picChg chg="add mod">
          <ac:chgData name="Eugenio Hernandez Contreras" userId="374f78fa-7281-443b-bdfc-66b046773caf" providerId="ADAL" clId="{863909F5-FE08-4870-8738-CC816B3DB792}" dt="2022-11-22T17:10:09.134" v="4524" actId="571"/>
          <ac:picMkLst>
            <pc:docMk/>
            <pc:sldMk cId="3915111650" sldId="2145707167"/>
            <ac:picMk id="132" creationId="{5975D197-8204-4C09-B361-F4CE528406F5}"/>
          </ac:picMkLst>
        </pc:picChg>
        <pc:picChg chg="add mod ord topLvl">
          <ac:chgData name="Eugenio Hernandez Contreras" userId="374f78fa-7281-443b-bdfc-66b046773caf" providerId="ADAL" clId="{863909F5-FE08-4870-8738-CC816B3DB792}" dt="2022-11-22T17:38:01.118" v="5315" actId="12788"/>
          <ac:picMkLst>
            <pc:docMk/>
            <pc:sldMk cId="3915111650" sldId="2145707167"/>
            <ac:picMk id="224" creationId="{5B03B695-833E-4DCF-907D-CC63D8E1A195}"/>
          </ac:picMkLst>
        </pc:picChg>
        <pc:picChg chg="add mod topLvl">
          <ac:chgData name="Eugenio Hernandez Contreras" userId="374f78fa-7281-443b-bdfc-66b046773caf" providerId="ADAL" clId="{863909F5-FE08-4870-8738-CC816B3DB792}" dt="2022-11-22T17:36:42.672" v="5297" actId="164"/>
          <ac:picMkLst>
            <pc:docMk/>
            <pc:sldMk cId="3915111650" sldId="2145707167"/>
            <ac:picMk id="235" creationId="{887DC23C-07C7-4EC2-8807-E4B5CEB92DF8}"/>
          </ac:picMkLst>
        </pc:picChg>
        <pc:picChg chg="add mod topLvl">
          <ac:chgData name="Eugenio Hernandez Contreras" userId="374f78fa-7281-443b-bdfc-66b046773caf" providerId="ADAL" clId="{863909F5-FE08-4870-8738-CC816B3DB792}" dt="2022-11-22T17:36:50.373" v="5299" actId="164"/>
          <ac:picMkLst>
            <pc:docMk/>
            <pc:sldMk cId="3915111650" sldId="2145707167"/>
            <ac:picMk id="237" creationId="{257B31CE-A5F3-41AB-BF1A-B46429256AFB}"/>
          </ac:picMkLst>
        </pc:picChg>
        <pc:picChg chg="add mod topLvl">
          <ac:chgData name="Eugenio Hernandez Contreras" userId="374f78fa-7281-443b-bdfc-66b046773caf" providerId="ADAL" clId="{863909F5-FE08-4870-8738-CC816B3DB792}" dt="2022-11-22T17:20:52.026" v="4678" actId="207"/>
          <ac:picMkLst>
            <pc:docMk/>
            <pc:sldMk cId="3915111650" sldId="2145707167"/>
            <ac:picMk id="239" creationId="{A179BA55-E4FD-4C5D-836F-7B73A58CF5BA}"/>
          </ac:picMkLst>
        </pc:picChg>
        <pc:cxnChg chg="del mod ord">
          <ac:chgData name="Eugenio Hernandez Contreras" userId="374f78fa-7281-443b-bdfc-66b046773caf" providerId="ADAL" clId="{863909F5-FE08-4870-8738-CC816B3DB792}" dt="2022-11-22T15:38:51.876" v="1949" actId="478"/>
          <ac:cxnSpMkLst>
            <pc:docMk/>
            <pc:sldMk cId="3915111650" sldId="2145707167"/>
            <ac:cxnSpMk id="36" creationId="{8E6F4863-C7AF-4ACA-8B34-F94D80F3E032}"/>
          </ac:cxnSpMkLst>
        </pc:cxnChg>
        <pc:cxnChg chg="del mod ord">
          <ac:chgData name="Eugenio Hernandez Contreras" userId="374f78fa-7281-443b-bdfc-66b046773caf" providerId="ADAL" clId="{863909F5-FE08-4870-8738-CC816B3DB792}" dt="2022-11-22T15:38:51.876" v="1949" actId="478"/>
          <ac:cxnSpMkLst>
            <pc:docMk/>
            <pc:sldMk cId="3915111650" sldId="2145707167"/>
            <ac:cxnSpMk id="42" creationId="{E25ADAD2-69C8-4DC8-8532-76DD0330FEE1}"/>
          </ac:cxnSpMkLst>
        </pc:cxnChg>
        <pc:cxnChg chg="add mod ord">
          <ac:chgData name="Eugenio Hernandez Contreras" userId="374f78fa-7281-443b-bdfc-66b046773caf" providerId="ADAL" clId="{863909F5-FE08-4870-8738-CC816B3DB792}" dt="2022-11-22T17:37:49.996" v="5311" actId="408"/>
          <ac:cxnSpMkLst>
            <pc:docMk/>
            <pc:sldMk cId="3915111650" sldId="2145707167"/>
            <ac:cxnSpMk id="98" creationId="{1F995F01-4502-4416-B4B6-5EBA25B8717A}"/>
          </ac:cxnSpMkLst>
        </pc:cxnChg>
        <pc:cxnChg chg="add mod ord">
          <ac:chgData name="Eugenio Hernandez Contreras" userId="374f78fa-7281-443b-bdfc-66b046773caf" providerId="ADAL" clId="{863909F5-FE08-4870-8738-CC816B3DB792}" dt="2022-11-22T17:37:49.996" v="5311" actId="408"/>
          <ac:cxnSpMkLst>
            <pc:docMk/>
            <pc:sldMk cId="3915111650" sldId="2145707167"/>
            <ac:cxnSpMk id="100" creationId="{3BFFED19-E42A-45E2-9ED9-41973F9E3B13}"/>
          </ac:cxnSpMkLst>
        </pc:cxnChg>
        <pc:cxnChg chg="add del mod topLvl">
          <ac:chgData name="Eugenio Hernandez Contreras" userId="374f78fa-7281-443b-bdfc-66b046773caf" providerId="ADAL" clId="{863909F5-FE08-4870-8738-CC816B3DB792}" dt="2022-11-22T17:13:27.557" v="4569" actId="478"/>
          <ac:cxnSpMkLst>
            <pc:docMk/>
            <pc:sldMk cId="3915111650" sldId="2145707167"/>
            <ac:cxnSpMk id="101" creationId="{23E14CEC-D65C-4A02-BC10-1D0985625A95}"/>
          </ac:cxnSpMkLst>
        </pc:cxnChg>
        <pc:cxnChg chg="add del mod topLvl">
          <ac:chgData name="Eugenio Hernandez Contreras" userId="374f78fa-7281-443b-bdfc-66b046773caf" providerId="ADAL" clId="{863909F5-FE08-4870-8738-CC816B3DB792}" dt="2022-11-22T17:13:28.542" v="4570" actId="478"/>
          <ac:cxnSpMkLst>
            <pc:docMk/>
            <pc:sldMk cId="3915111650" sldId="2145707167"/>
            <ac:cxnSpMk id="104" creationId="{8E8891BF-A84A-4E10-BB47-712EA5F5D0A1}"/>
          </ac:cxnSpMkLst>
        </pc:cxnChg>
        <pc:cxnChg chg="add del mod">
          <ac:chgData name="Eugenio Hernandez Contreras" userId="374f78fa-7281-443b-bdfc-66b046773caf" providerId="ADAL" clId="{863909F5-FE08-4870-8738-CC816B3DB792}" dt="2022-11-22T16:09:40.751" v="3785" actId="478"/>
          <ac:cxnSpMkLst>
            <pc:docMk/>
            <pc:sldMk cId="3915111650" sldId="2145707167"/>
            <ac:cxnSpMk id="106" creationId="{69FBE3D7-C3E6-4BB8-8D52-338E634D01B6}"/>
          </ac:cxnSpMkLst>
        </pc:cxnChg>
        <pc:cxnChg chg="add del mod topLvl">
          <ac:chgData name="Eugenio Hernandez Contreras" userId="374f78fa-7281-443b-bdfc-66b046773caf" providerId="ADAL" clId="{863909F5-FE08-4870-8738-CC816B3DB792}" dt="2022-11-22T17:13:29.413" v="4571" actId="478"/>
          <ac:cxnSpMkLst>
            <pc:docMk/>
            <pc:sldMk cId="3915111650" sldId="2145707167"/>
            <ac:cxnSpMk id="108" creationId="{0A54D284-773A-45EA-A025-1F0485DCEAFA}"/>
          </ac:cxnSpMkLst>
        </pc:cxnChg>
        <pc:cxnChg chg="del mod ord">
          <ac:chgData name="Eugenio Hernandez Contreras" userId="374f78fa-7281-443b-bdfc-66b046773caf" providerId="ADAL" clId="{863909F5-FE08-4870-8738-CC816B3DB792}" dt="2022-11-22T15:38:51.876" v="1949" actId="478"/>
          <ac:cxnSpMkLst>
            <pc:docMk/>
            <pc:sldMk cId="3915111650" sldId="2145707167"/>
            <ac:cxnSpMk id="247" creationId="{E675093B-D842-4050-9700-5869466ADA40}"/>
          </ac:cxnSpMkLst>
        </pc:cxnChg>
        <pc:cxnChg chg="del mod ord">
          <ac:chgData name="Eugenio Hernandez Contreras" userId="374f78fa-7281-443b-bdfc-66b046773caf" providerId="ADAL" clId="{863909F5-FE08-4870-8738-CC816B3DB792}" dt="2022-11-22T15:38:51.876" v="1949" actId="478"/>
          <ac:cxnSpMkLst>
            <pc:docMk/>
            <pc:sldMk cId="3915111650" sldId="2145707167"/>
            <ac:cxnSpMk id="248" creationId="{CDD6CCB0-A043-4BD3-B025-73D574A0A759}"/>
          </ac:cxnSpMkLst>
        </pc:cxnChg>
        <pc:cxnChg chg="del mod ord">
          <ac:chgData name="Eugenio Hernandez Contreras" userId="374f78fa-7281-443b-bdfc-66b046773caf" providerId="ADAL" clId="{863909F5-FE08-4870-8738-CC816B3DB792}" dt="2022-11-22T15:38:51.876" v="1949" actId="478"/>
          <ac:cxnSpMkLst>
            <pc:docMk/>
            <pc:sldMk cId="3915111650" sldId="2145707167"/>
            <ac:cxnSpMk id="249" creationId="{F0C790FF-C40F-4DDA-9ACE-145E11304AAA}"/>
          </ac:cxnSpMkLst>
        </pc:cxnChg>
        <pc:cxnChg chg="del mod ord">
          <ac:chgData name="Eugenio Hernandez Contreras" userId="374f78fa-7281-443b-bdfc-66b046773caf" providerId="ADAL" clId="{863909F5-FE08-4870-8738-CC816B3DB792}" dt="2022-11-22T15:38:51.876" v="1949" actId="478"/>
          <ac:cxnSpMkLst>
            <pc:docMk/>
            <pc:sldMk cId="3915111650" sldId="2145707167"/>
            <ac:cxnSpMk id="250" creationId="{3452CF39-F8F0-442E-B2A0-BE21B281AC8D}"/>
          </ac:cxnSpMkLst>
        </pc:cxnChg>
        <pc:cxnChg chg="del mod ord">
          <ac:chgData name="Eugenio Hernandez Contreras" userId="374f78fa-7281-443b-bdfc-66b046773caf" providerId="ADAL" clId="{863909F5-FE08-4870-8738-CC816B3DB792}" dt="2022-11-22T15:38:51.876" v="1949" actId="478"/>
          <ac:cxnSpMkLst>
            <pc:docMk/>
            <pc:sldMk cId="3915111650" sldId="2145707167"/>
            <ac:cxnSpMk id="252" creationId="{D8038714-A8F2-46E5-9821-EAE34DF545CB}"/>
          </ac:cxnSpMkLst>
        </pc:cxnChg>
        <pc:cxnChg chg="del mod ord">
          <ac:chgData name="Eugenio Hernandez Contreras" userId="374f78fa-7281-443b-bdfc-66b046773caf" providerId="ADAL" clId="{863909F5-FE08-4870-8738-CC816B3DB792}" dt="2022-11-22T15:38:51.876" v="1949" actId="478"/>
          <ac:cxnSpMkLst>
            <pc:docMk/>
            <pc:sldMk cId="3915111650" sldId="2145707167"/>
            <ac:cxnSpMk id="291" creationId="{EF08449C-CA24-4CAB-9101-8A7CEC781B87}"/>
          </ac:cxnSpMkLst>
        </pc:cxnChg>
        <pc:cxnChg chg="del mod ord">
          <ac:chgData name="Eugenio Hernandez Contreras" userId="374f78fa-7281-443b-bdfc-66b046773caf" providerId="ADAL" clId="{863909F5-FE08-4870-8738-CC816B3DB792}" dt="2022-11-22T15:38:51.876" v="1949" actId="478"/>
          <ac:cxnSpMkLst>
            <pc:docMk/>
            <pc:sldMk cId="3915111650" sldId="2145707167"/>
            <ac:cxnSpMk id="292" creationId="{8C9FDE27-D9B5-4EEF-854F-C1E779A8829C}"/>
          </ac:cxnSpMkLst>
        </pc:cxnChg>
        <pc:cxnChg chg="del mod ord">
          <ac:chgData name="Eugenio Hernandez Contreras" userId="374f78fa-7281-443b-bdfc-66b046773caf" providerId="ADAL" clId="{863909F5-FE08-4870-8738-CC816B3DB792}" dt="2022-11-22T15:38:51.876" v="1949" actId="478"/>
          <ac:cxnSpMkLst>
            <pc:docMk/>
            <pc:sldMk cId="3915111650" sldId="2145707167"/>
            <ac:cxnSpMk id="293" creationId="{0BE3E857-830B-466E-AF82-B64DE4D7CBF1}"/>
          </ac:cxnSpMkLst>
        </pc:cxnChg>
        <pc:cxnChg chg="del mod ord">
          <ac:chgData name="Eugenio Hernandez Contreras" userId="374f78fa-7281-443b-bdfc-66b046773caf" providerId="ADAL" clId="{863909F5-FE08-4870-8738-CC816B3DB792}" dt="2022-11-22T16:04:18.823" v="3687"/>
          <ac:cxnSpMkLst>
            <pc:docMk/>
            <pc:sldMk cId="3915111650" sldId="2145707167"/>
            <ac:cxnSpMk id="296" creationId="{166B82B4-42AD-41AF-95EC-DD21E65089B7}"/>
          </ac:cxnSpMkLst>
        </pc:cxnChg>
        <pc:cxnChg chg="del mod ord">
          <ac:chgData name="Eugenio Hernandez Contreras" userId="374f78fa-7281-443b-bdfc-66b046773caf" providerId="ADAL" clId="{863909F5-FE08-4870-8738-CC816B3DB792}" dt="2022-11-22T16:04:18.829" v="3697"/>
          <ac:cxnSpMkLst>
            <pc:docMk/>
            <pc:sldMk cId="3915111650" sldId="2145707167"/>
            <ac:cxnSpMk id="324" creationId="{D44761CA-57C0-4C7B-B4BF-AC873B86C6DC}"/>
          </ac:cxnSpMkLst>
        </pc:cxnChg>
      </pc:sldChg>
      <pc:sldChg chg="addSp delSp modSp add mod">
        <pc:chgData name="Eugenio Hernandez Contreras" userId="374f78fa-7281-443b-bdfc-66b046773caf" providerId="ADAL" clId="{863909F5-FE08-4870-8738-CC816B3DB792}" dt="2022-11-22T17:35:06.647" v="5279" actId="1035"/>
        <pc:sldMkLst>
          <pc:docMk/>
          <pc:sldMk cId="455621584" sldId="2145707168"/>
        </pc:sldMkLst>
        <pc:spChg chg="mod">
          <ac:chgData name="Eugenio Hernandez Contreras" userId="374f78fa-7281-443b-bdfc-66b046773caf" providerId="ADAL" clId="{863909F5-FE08-4870-8738-CC816B3DB792}" dt="2022-11-22T15:45:05.790" v="3313" actId="948"/>
          <ac:spMkLst>
            <pc:docMk/>
            <pc:sldMk cId="455621584" sldId="2145707168"/>
            <ac:spMk id="2" creationId="{00000000-0000-0000-0000-000000000000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02.462" v="1996"/>
          <ac:spMkLst>
            <pc:docMk/>
            <pc:sldMk cId="455621584" sldId="2145707168"/>
            <ac:spMk id="3" creationId="{38E7BE3A-4C5E-4F9E-B871-50B6574C2D1D}"/>
          </ac:spMkLst>
        </pc:spChg>
        <pc:spChg chg="del">
          <ac:chgData name="Eugenio Hernandez Contreras" userId="374f78fa-7281-443b-bdfc-66b046773caf" providerId="ADAL" clId="{863909F5-FE08-4870-8738-CC816B3DB792}" dt="2022-11-22T15:45:05.763" v="3292"/>
          <ac:spMkLst>
            <pc:docMk/>
            <pc:sldMk cId="455621584" sldId="2145707168"/>
            <ac:spMk id="5" creationId="{62C68A46-D53F-4F97-9C58-D749FFE6030E}"/>
          </ac:spMkLst>
        </pc:spChg>
        <pc:spChg chg="del">
          <ac:chgData name="Eugenio Hernandez Contreras" userId="374f78fa-7281-443b-bdfc-66b046773caf" providerId="ADAL" clId="{863909F5-FE08-4870-8738-CC816B3DB792}" dt="2022-11-22T15:45:05.764" v="3294"/>
          <ac:spMkLst>
            <pc:docMk/>
            <pc:sldMk cId="455621584" sldId="2145707168"/>
            <ac:spMk id="37" creationId="{7570071B-E8DB-405A-9725-86E6EC89690B}"/>
          </ac:spMkLst>
        </pc:spChg>
        <pc:spChg chg="add mod">
          <ac:chgData name="Eugenio Hernandez Contreras" userId="374f78fa-7281-443b-bdfc-66b046773caf" providerId="ADAL" clId="{863909F5-FE08-4870-8738-CC816B3DB792}" dt="2022-11-22T17:05:23.839" v="4451" actId="12788"/>
          <ac:spMkLst>
            <pc:docMk/>
            <pc:sldMk cId="455621584" sldId="2145707168"/>
            <ac:spMk id="46" creationId="{8D0C825F-E4D2-4A2B-8899-D1F56D7D2D1A}"/>
          </ac:spMkLst>
        </pc:spChg>
        <pc:spChg chg="add del mod">
          <ac:chgData name="Eugenio Hernandez Contreras" userId="374f78fa-7281-443b-bdfc-66b046773caf" providerId="ADAL" clId="{863909F5-FE08-4870-8738-CC816B3DB792}" dt="2022-11-22T17:04:54.232" v="4444" actId="478"/>
          <ac:spMkLst>
            <pc:docMk/>
            <pc:sldMk cId="455621584" sldId="2145707168"/>
            <ac:spMk id="47" creationId="{69A134A8-9F12-4765-942D-90F54FEDCDF4}"/>
          </ac:spMkLst>
        </pc:spChg>
        <pc:spChg chg="add del mod">
          <ac:chgData name="Eugenio Hernandez Contreras" userId="374f78fa-7281-443b-bdfc-66b046773caf" providerId="ADAL" clId="{863909F5-FE08-4870-8738-CC816B3DB792}" dt="2022-11-22T15:49:05.662" v="3364"/>
          <ac:spMkLst>
            <pc:docMk/>
            <pc:sldMk cId="455621584" sldId="2145707168"/>
            <ac:spMk id="50" creationId="{326A269A-F018-48E1-9E3C-2FDB85FA86EF}"/>
          </ac:spMkLst>
        </pc:spChg>
        <pc:spChg chg="add mod">
          <ac:chgData name="Eugenio Hernandez Contreras" userId="374f78fa-7281-443b-bdfc-66b046773caf" providerId="ADAL" clId="{863909F5-FE08-4870-8738-CC816B3DB792}" dt="2022-11-22T16:01:50.078" v="3641" actId="208"/>
          <ac:spMkLst>
            <pc:docMk/>
            <pc:sldMk cId="455621584" sldId="2145707168"/>
            <ac:spMk id="51" creationId="{883E6190-F105-4AFE-A160-6910F2D0D721}"/>
          </ac:spMkLst>
        </pc:spChg>
        <pc:spChg chg="add mod">
          <ac:chgData name="Eugenio Hernandez Contreras" userId="374f78fa-7281-443b-bdfc-66b046773caf" providerId="ADAL" clId="{863909F5-FE08-4870-8738-CC816B3DB792}" dt="2022-11-22T15:52:33.060" v="3521" actId="20577"/>
          <ac:spMkLst>
            <pc:docMk/>
            <pc:sldMk cId="455621584" sldId="2145707168"/>
            <ac:spMk id="52" creationId="{CA0BC3D1-D95A-4F9B-914E-E740ACC077B1}"/>
          </ac:spMkLst>
        </pc:spChg>
        <pc:spChg chg="add mod">
          <ac:chgData name="Eugenio Hernandez Contreras" userId="374f78fa-7281-443b-bdfc-66b046773caf" providerId="ADAL" clId="{863909F5-FE08-4870-8738-CC816B3DB792}" dt="2022-11-22T17:24:54.374" v="5043" actId="12788"/>
          <ac:spMkLst>
            <pc:docMk/>
            <pc:sldMk cId="455621584" sldId="2145707168"/>
            <ac:spMk id="54" creationId="{40DCB365-851B-4138-9EB4-97B8ACD00F18}"/>
          </ac:spMkLst>
        </pc:spChg>
        <pc:spChg chg="add mod">
          <ac:chgData name="Eugenio Hernandez Contreras" userId="374f78fa-7281-443b-bdfc-66b046773caf" providerId="ADAL" clId="{863909F5-FE08-4870-8738-CC816B3DB792}" dt="2022-11-22T17:24:52.682" v="5042" actId="164"/>
          <ac:spMkLst>
            <pc:docMk/>
            <pc:sldMk cId="455621584" sldId="2145707168"/>
            <ac:spMk id="55" creationId="{B9DC5BA7-79F5-40CD-98EE-3C9D8B9C5616}"/>
          </ac:spMkLst>
        </pc:spChg>
        <pc:spChg chg="add mod">
          <ac:chgData name="Eugenio Hernandez Contreras" userId="374f78fa-7281-443b-bdfc-66b046773caf" providerId="ADAL" clId="{863909F5-FE08-4870-8738-CC816B3DB792}" dt="2022-11-22T17:34:57.719" v="5276" actId="12788"/>
          <ac:spMkLst>
            <pc:docMk/>
            <pc:sldMk cId="455621584" sldId="2145707168"/>
            <ac:spMk id="57" creationId="{6C5D3F8C-9903-409B-A0AC-C8A68E6FFA92}"/>
          </ac:spMkLst>
        </pc:spChg>
        <pc:spChg chg="del">
          <ac:chgData name="Eugenio Hernandez Contreras" userId="374f78fa-7281-443b-bdfc-66b046773caf" providerId="ADAL" clId="{863909F5-FE08-4870-8738-CC816B3DB792}" dt="2022-11-22T15:45:05.762" v="3290"/>
          <ac:spMkLst>
            <pc:docMk/>
            <pc:sldMk cId="455621584" sldId="2145707168"/>
            <ac:spMk id="58" creationId="{1E4D2392-9ED4-439F-98A9-5ED47C9CABF3}"/>
          </ac:spMkLst>
        </pc:spChg>
        <pc:spChg chg="add mod">
          <ac:chgData name="Eugenio Hernandez Contreras" userId="374f78fa-7281-443b-bdfc-66b046773caf" providerId="ADAL" clId="{863909F5-FE08-4870-8738-CC816B3DB792}" dt="2022-11-22T17:34:51.734" v="5274" actId="164"/>
          <ac:spMkLst>
            <pc:docMk/>
            <pc:sldMk cId="455621584" sldId="2145707168"/>
            <ac:spMk id="59" creationId="{4815017D-11C4-418C-80D1-A0FAD82590C1}"/>
          </ac:spMkLst>
        </pc:spChg>
        <pc:spChg chg="add mod">
          <ac:chgData name="Eugenio Hernandez Contreras" userId="374f78fa-7281-443b-bdfc-66b046773caf" providerId="ADAL" clId="{863909F5-FE08-4870-8738-CC816B3DB792}" dt="2022-11-22T15:59:59.569" v="3610" actId="164"/>
          <ac:spMkLst>
            <pc:docMk/>
            <pc:sldMk cId="455621584" sldId="2145707168"/>
            <ac:spMk id="61" creationId="{5CAB1D85-3215-4E03-8F93-BE5B0783B2F3}"/>
          </ac:spMkLst>
        </pc:spChg>
        <pc:spChg chg="add mod">
          <ac:chgData name="Eugenio Hernandez Contreras" userId="374f78fa-7281-443b-bdfc-66b046773caf" providerId="ADAL" clId="{863909F5-FE08-4870-8738-CC816B3DB792}" dt="2022-11-22T15:59:59.569" v="3610" actId="164"/>
          <ac:spMkLst>
            <pc:docMk/>
            <pc:sldMk cId="455621584" sldId="2145707168"/>
            <ac:spMk id="62" creationId="{4FF7D786-213D-4871-9FED-4F76D416FEC1}"/>
          </ac:spMkLst>
        </pc:spChg>
        <pc:spChg chg="add del mod">
          <ac:chgData name="Eugenio Hernandez Contreras" userId="374f78fa-7281-443b-bdfc-66b046773caf" providerId="ADAL" clId="{863909F5-FE08-4870-8738-CC816B3DB792}" dt="2022-11-22T17:25:52.755" v="5057" actId="1076"/>
          <ac:spMkLst>
            <pc:docMk/>
            <pc:sldMk cId="455621584" sldId="2145707168"/>
            <ac:spMk id="64" creationId="{53DA6169-B04E-4542-B072-6E8478B171A0}"/>
          </ac:spMkLst>
        </pc:spChg>
        <pc:spChg chg="add mod topLvl">
          <ac:chgData name="Eugenio Hernandez Contreras" userId="374f78fa-7281-443b-bdfc-66b046773caf" providerId="ADAL" clId="{863909F5-FE08-4870-8738-CC816B3DB792}" dt="2022-11-22T17:05:21.449" v="4450" actId="164"/>
          <ac:spMkLst>
            <pc:docMk/>
            <pc:sldMk cId="455621584" sldId="2145707168"/>
            <ac:spMk id="69" creationId="{77E41163-7CE2-4B7B-9566-06034116BC0A}"/>
          </ac:spMkLst>
        </pc:spChg>
        <pc:spChg chg="add mod">
          <ac:chgData name="Eugenio Hernandez Contreras" userId="374f78fa-7281-443b-bdfc-66b046773caf" providerId="ADAL" clId="{863909F5-FE08-4870-8738-CC816B3DB792}" dt="2022-11-22T17:04:48.202" v="4441" actId="571"/>
          <ac:spMkLst>
            <pc:docMk/>
            <pc:sldMk cId="455621584" sldId="2145707168"/>
            <ac:spMk id="72" creationId="{86FA773A-504F-454C-B2DA-B64A2C5A0129}"/>
          </ac:spMkLst>
        </pc:spChg>
        <pc:spChg chg="del">
          <ac:chgData name="Eugenio Hernandez Contreras" userId="374f78fa-7281-443b-bdfc-66b046773caf" providerId="ADAL" clId="{863909F5-FE08-4870-8738-CC816B3DB792}" dt="2022-11-22T15:45:05.745" v="3260"/>
          <ac:spMkLst>
            <pc:docMk/>
            <pc:sldMk cId="455621584" sldId="2145707168"/>
            <ac:spMk id="73" creationId="{D635862A-994C-4BC4-83C7-D31F96AB814C}"/>
          </ac:spMkLst>
        </pc:spChg>
        <pc:spChg chg="mod">
          <ac:chgData name="Eugenio Hernandez Contreras" userId="374f78fa-7281-443b-bdfc-66b046773caf" providerId="ADAL" clId="{863909F5-FE08-4870-8738-CC816B3DB792}" dt="2022-11-22T17:04:48.202" v="4441" actId="571"/>
          <ac:spMkLst>
            <pc:docMk/>
            <pc:sldMk cId="455621584" sldId="2145707168"/>
            <ac:spMk id="75" creationId="{1A6ACB41-8C09-463C-8D00-17357B0FCDF5}"/>
          </ac:spMkLst>
        </pc:spChg>
        <pc:spChg chg="add mod">
          <ac:chgData name="Eugenio Hernandez Contreras" userId="374f78fa-7281-443b-bdfc-66b046773caf" providerId="ADAL" clId="{863909F5-FE08-4870-8738-CC816B3DB792}" dt="2022-11-22T17:30:49.236" v="5233" actId="1076"/>
          <ac:spMkLst>
            <pc:docMk/>
            <pc:sldMk cId="455621584" sldId="2145707168"/>
            <ac:spMk id="84" creationId="{1697D8BF-8B2B-4D2E-A53C-7744ED5290A8}"/>
          </ac:spMkLst>
        </pc:spChg>
        <pc:spChg chg="add mod">
          <ac:chgData name="Eugenio Hernandez Contreras" userId="374f78fa-7281-443b-bdfc-66b046773caf" providerId="ADAL" clId="{863909F5-FE08-4870-8738-CC816B3DB792}" dt="2022-11-22T17:32:34.613" v="5255" actId="20577"/>
          <ac:spMkLst>
            <pc:docMk/>
            <pc:sldMk cId="455621584" sldId="2145707168"/>
            <ac:spMk id="85" creationId="{7923E35A-E59F-492C-BB78-8C39B6404295}"/>
          </ac:spMkLst>
        </pc:spChg>
        <pc:spChg chg="add mod">
          <ac:chgData name="Eugenio Hernandez Contreras" userId="374f78fa-7281-443b-bdfc-66b046773caf" providerId="ADAL" clId="{863909F5-FE08-4870-8738-CC816B3DB792}" dt="2022-11-22T17:32:09.970" v="5248" actId="1076"/>
          <ac:spMkLst>
            <pc:docMk/>
            <pc:sldMk cId="455621584" sldId="2145707168"/>
            <ac:spMk id="86" creationId="{E895E65B-A81F-4E6F-B17F-90282A6A5B5B}"/>
          </ac:spMkLst>
        </pc:spChg>
        <pc:spChg chg="add mod">
          <ac:chgData name="Eugenio Hernandez Contreras" userId="374f78fa-7281-443b-bdfc-66b046773caf" providerId="ADAL" clId="{863909F5-FE08-4870-8738-CC816B3DB792}" dt="2022-11-22T17:32:38.191" v="5256" actId="1035"/>
          <ac:spMkLst>
            <pc:docMk/>
            <pc:sldMk cId="455621584" sldId="2145707168"/>
            <ac:spMk id="87" creationId="{50381AA3-D2B4-4A4E-ACDD-5A3F83544150}"/>
          </ac:spMkLst>
        </pc:spChg>
        <pc:spChg chg="del">
          <ac:chgData name="Eugenio Hernandez Contreras" userId="374f78fa-7281-443b-bdfc-66b046773caf" providerId="ADAL" clId="{863909F5-FE08-4870-8738-CC816B3DB792}" dt="2022-11-22T15:45:05.765" v="3296"/>
          <ac:spMkLst>
            <pc:docMk/>
            <pc:sldMk cId="455621584" sldId="2145707168"/>
            <ac:spMk id="297" creationId="{0B576682-EF43-4CB4-B24D-929BCB64B0B5}"/>
          </ac:spMkLst>
        </pc:spChg>
        <pc:spChg chg="del">
          <ac:chgData name="Eugenio Hernandez Contreras" userId="374f78fa-7281-443b-bdfc-66b046773caf" providerId="ADAL" clId="{863909F5-FE08-4870-8738-CC816B3DB792}" dt="2022-11-22T15:45:05.767" v="3298"/>
          <ac:spMkLst>
            <pc:docMk/>
            <pc:sldMk cId="455621584" sldId="2145707168"/>
            <ac:spMk id="300" creationId="{063A8B36-D098-4363-9566-9772200CB6A6}"/>
          </ac:spMkLst>
        </pc:spChg>
        <pc:spChg chg="del">
          <ac:chgData name="Eugenio Hernandez Contreras" userId="374f78fa-7281-443b-bdfc-66b046773caf" providerId="ADAL" clId="{863909F5-FE08-4870-8738-CC816B3DB792}" dt="2022-11-22T15:45:05.768" v="3300"/>
          <ac:spMkLst>
            <pc:docMk/>
            <pc:sldMk cId="455621584" sldId="2145707168"/>
            <ac:spMk id="302" creationId="{F76778FF-FA19-44C5-A6B2-C0593585C092}"/>
          </ac:spMkLst>
        </pc:spChg>
        <pc:spChg chg="del">
          <ac:chgData name="Eugenio Hernandez Contreras" userId="374f78fa-7281-443b-bdfc-66b046773caf" providerId="ADAL" clId="{863909F5-FE08-4870-8738-CC816B3DB792}" dt="2022-11-22T15:45:05.770" v="3302"/>
          <ac:spMkLst>
            <pc:docMk/>
            <pc:sldMk cId="455621584" sldId="2145707168"/>
            <ac:spMk id="303" creationId="{EDDD3001-46E9-4B42-A774-0E882E2374EF}"/>
          </ac:spMkLst>
        </pc:spChg>
        <pc:spChg chg="del">
          <ac:chgData name="Eugenio Hernandez Contreras" userId="374f78fa-7281-443b-bdfc-66b046773caf" providerId="ADAL" clId="{863909F5-FE08-4870-8738-CC816B3DB792}" dt="2022-11-22T15:45:05.777" v="3308"/>
          <ac:spMkLst>
            <pc:docMk/>
            <pc:sldMk cId="455621584" sldId="2145707168"/>
            <ac:spMk id="304" creationId="{CEA694D2-F401-46FB-A0B8-AAF0E7B6ABCE}"/>
          </ac:spMkLst>
        </pc:spChg>
        <pc:spChg chg="del">
          <ac:chgData name="Eugenio Hernandez Contreras" userId="374f78fa-7281-443b-bdfc-66b046773caf" providerId="ADAL" clId="{863909F5-FE08-4870-8738-CC816B3DB792}" dt="2022-11-22T15:45:05.773" v="3304"/>
          <ac:spMkLst>
            <pc:docMk/>
            <pc:sldMk cId="455621584" sldId="2145707168"/>
            <ac:spMk id="306" creationId="{875FD60E-CB70-4048-977A-283C3054D726}"/>
          </ac:spMkLst>
        </pc:spChg>
        <pc:spChg chg="del">
          <ac:chgData name="Eugenio Hernandez Contreras" userId="374f78fa-7281-443b-bdfc-66b046773caf" providerId="ADAL" clId="{863909F5-FE08-4870-8738-CC816B3DB792}" dt="2022-11-22T15:45:05.778" v="3310"/>
          <ac:spMkLst>
            <pc:docMk/>
            <pc:sldMk cId="455621584" sldId="2145707168"/>
            <ac:spMk id="309" creationId="{94ECFC95-2AEE-4D50-96E8-154AAD5000C0}"/>
          </ac:spMkLst>
        </pc:spChg>
        <pc:spChg chg="del">
          <ac:chgData name="Eugenio Hernandez Contreras" userId="374f78fa-7281-443b-bdfc-66b046773caf" providerId="ADAL" clId="{863909F5-FE08-4870-8738-CC816B3DB792}" dt="2022-11-22T15:45:05.756" v="3280"/>
          <ac:spMkLst>
            <pc:docMk/>
            <pc:sldMk cId="455621584" sldId="2145707168"/>
            <ac:spMk id="310" creationId="{A17790B6-3F23-420D-9214-1E6A71206B58}"/>
          </ac:spMkLst>
        </pc:spChg>
        <pc:spChg chg="del">
          <ac:chgData name="Eugenio Hernandez Contreras" userId="374f78fa-7281-443b-bdfc-66b046773caf" providerId="ADAL" clId="{863909F5-FE08-4870-8738-CC816B3DB792}" dt="2022-11-22T15:45:05.752" v="3272"/>
          <ac:spMkLst>
            <pc:docMk/>
            <pc:sldMk cId="455621584" sldId="2145707168"/>
            <ac:spMk id="312" creationId="{0FA14468-FFD6-4C5C-AB5E-C80CB1CE8B92}"/>
          </ac:spMkLst>
        </pc:spChg>
        <pc:spChg chg="del">
          <ac:chgData name="Eugenio Hernandez Contreras" userId="374f78fa-7281-443b-bdfc-66b046773caf" providerId="ADAL" clId="{863909F5-FE08-4870-8738-CC816B3DB792}" dt="2022-11-22T15:45:05.753" v="3274"/>
          <ac:spMkLst>
            <pc:docMk/>
            <pc:sldMk cId="455621584" sldId="2145707168"/>
            <ac:spMk id="314" creationId="{B85CEB04-14F9-49FB-B51D-EE5F72FE2D29}"/>
          </ac:spMkLst>
        </pc:spChg>
        <pc:spChg chg="del">
          <ac:chgData name="Eugenio Hernandez Contreras" userId="374f78fa-7281-443b-bdfc-66b046773caf" providerId="ADAL" clId="{863909F5-FE08-4870-8738-CC816B3DB792}" dt="2022-11-22T15:45:05.754" v="3276"/>
          <ac:spMkLst>
            <pc:docMk/>
            <pc:sldMk cId="455621584" sldId="2145707168"/>
            <ac:spMk id="316" creationId="{A5058C9B-E452-4426-8AC3-EC7835026FF9}"/>
          </ac:spMkLst>
        </pc:spChg>
        <pc:spChg chg="del">
          <ac:chgData name="Eugenio Hernandez Contreras" userId="374f78fa-7281-443b-bdfc-66b046773caf" providerId="ADAL" clId="{863909F5-FE08-4870-8738-CC816B3DB792}" dt="2022-11-22T15:45:05.757" v="3282"/>
          <ac:spMkLst>
            <pc:docMk/>
            <pc:sldMk cId="455621584" sldId="2145707168"/>
            <ac:spMk id="318" creationId="{2B6BC223-6AD0-4CD0-BBDB-AFC4A714EE5C}"/>
          </ac:spMkLst>
        </pc:spChg>
        <pc:spChg chg="del">
          <ac:chgData name="Eugenio Hernandez Contreras" userId="374f78fa-7281-443b-bdfc-66b046773caf" providerId="ADAL" clId="{863909F5-FE08-4870-8738-CC816B3DB792}" dt="2022-11-22T15:45:05.759" v="3284"/>
          <ac:spMkLst>
            <pc:docMk/>
            <pc:sldMk cId="455621584" sldId="2145707168"/>
            <ac:spMk id="319" creationId="{7B657F3C-7B66-44DC-A05A-63FE5DC4840B}"/>
          </ac:spMkLst>
        </pc:spChg>
        <pc:spChg chg="del">
          <ac:chgData name="Eugenio Hernandez Contreras" userId="374f78fa-7281-443b-bdfc-66b046773caf" providerId="ADAL" clId="{863909F5-FE08-4870-8738-CC816B3DB792}" dt="2022-11-22T15:45:05.761" v="3288"/>
          <ac:spMkLst>
            <pc:docMk/>
            <pc:sldMk cId="455621584" sldId="2145707168"/>
            <ac:spMk id="320" creationId="{59BFE7D1-C4C7-422D-A430-1F90B7966A7F}"/>
          </ac:spMkLst>
        </pc:spChg>
        <pc:spChg chg="del">
          <ac:chgData name="Eugenio Hernandez Contreras" userId="374f78fa-7281-443b-bdfc-66b046773caf" providerId="ADAL" clId="{863909F5-FE08-4870-8738-CC816B3DB792}" dt="2022-11-22T15:45:05.760" v="3286"/>
          <ac:spMkLst>
            <pc:docMk/>
            <pc:sldMk cId="455621584" sldId="2145707168"/>
            <ac:spMk id="325" creationId="{F0D8CDD0-6744-458F-82BB-1A639401E690}"/>
          </ac:spMkLst>
        </pc:spChg>
        <pc:spChg chg="del">
          <ac:chgData name="Eugenio Hernandez Contreras" userId="374f78fa-7281-443b-bdfc-66b046773caf" providerId="ADAL" clId="{863909F5-FE08-4870-8738-CC816B3DB792}" dt="2022-11-22T15:45:05.746" v="3262"/>
          <ac:spMkLst>
            <pc:docMk/>
            <pc:sldMk cId="455621584" sldId="2145707168"/>
            <ac:spMk id="416" creationId="{A3B0DD5B-E9A4-42CD-B795-B9ED9E4BFA32}"/>
          </ac:spMkLst>
        </pc:spChg>
        <pc:spChg chg="del">
          <ac:chgData name="Eugenio Hernandez Contreras" userId="374f78fa-7281-443b-bdfc-66b046773caf" providerId="ADAL" clId="{863909F5-FE08-4870-8738-CC816B3DB792}" dt="2022-11-22T15:45:05.747" v="3264"/>
          <ac:spMkLst>
            <pc:docMk/>
            <pc:sldMk cId="455621584" sldId="2145707168"/>
            <ac:spMk id="418" creationId="{8A1DEBB4-1CC8-40B6-A170-FDD97507942A}"/>
          </ac:spMkLst>
        </pc:spChg>
        <pc:spChg chg="del">
          <ac:chgData name="Eugenio Hernandez Contreras" userId="374f78fa-7281-443b-bdfc-66b046773caf" providerId="ADAL" clId="{863909F5-FE08-4870-8738-CC816B3DB792}" dt="2022-11-22T15:45:05.748" v="3266"/>
          <ac:spMkLst>
            <pc:docMk/>
            <pc:sldMk cId="455621584" sldId="2145707168"/>
            <ac:spMk id="419" creationId="{F87E6F47-1D5B-4344-96F8-C0E78F9DC399}"/>
          </ac:spMkLst>
        </pc:spChg>
        <pc:spChg chg="del">
          <ac:chgData name="Eugenio Hernandez Contreras" userId="374f78fa-7281-443b-bdfc-66b046773caf" providerId="ADAL" clId="{863909F5-FE08-4870-8738-CC816B3DB792}" dt="2022-11-22T15:45:05.749" v="3268"/>
          <ac:spMkLst>
            <pc:docMk/>
            <pc:sldMk cId="455621584" sldId="2145707168"/>
            <ac:spMk id="421" creationId="{28712744-E7F1-4A66-BA4B-E6B599954D28}"/>
          </ac:spMkLst>
        </pc:spChg>
        <pc:spChg chg="del">
          <ac:chgData name="Eugenio Hernandez Contreras" userId="374f78fa-7281-443b-bdfc-66b046773caf" providerId="ADAL" clId="{863909F5-FE08-4870-8738-CC816B3DB792}" dt="2022-11-22T15:45:05.739" v="3252"/>
          <ac:spMkLst>
            <pc:docMk/>
            <pc:sldMk cId="455621584" sldId="2145707168"/>
            <ac:spMk id="422" creationId="{3A26AC29-8B5A-46A6-93AB-1F2F40E7E208}"/>
          </ac:spMkLst>
        </pc:spChg>
        <pc:spChg chg="del">
          <ac:chgData name="Eugenio Hernandez Contreras" userId="374f78fa-7281-443b-bdfc-66b046773caf" providerId="ADAL" clId="{863909F5-FE08-4870-8738-CC816B3DB792}" dt="2022-11-22T15:45:05.741" v="3254"/>
          <ac:spMkLst>
            <pc:docMk/>
            <pc:sldMk cId="455621584" sldId="2145707168"/>
            <ac:spMk id="423" creationId="{86D23091-0372-4036-8786-9EBB27270470}"/>
          </ac:spMkLst>
        </pc:spChg>
        <pc:spChg chg="del">
          <ac:chgData name="Eugenio Hernandez Contreras" userId="374f78fa-7281-443b-bdfc-66b046773caf" providerId="ADAL" clId="{863909F5-FE08-4870-8738-CC816B3DB792}" dt="2022-11-22T15:45:05.744" v="3258"/>
          <ac:spMkLst>
            <pc:docMk/>
            <pc:sldMk cId="455621584" sldId="2145707168"/>
            <ac:spMk id="424" creationId="{0691EEB4-ED29-486B-9CB1-131F725FA40F}"/>
          </ac:spMkLst>
        </pc:spChg>
        <pc:spChg chg="del">
          <ac:chgData name="Eugenio Hernandez Contreras" userId="374f78fa-7281-443b-bdfc-66b046773caf" providerId="ADAL" clId="{863909F5-FE08-4870-8738-CC816B3DB792}" dt="2022-11-22T15:45:05.742" v="3256"/>
          <ac:spMkLst>
            <pc:docMk/>
            <pc:sldMk cId="455621584" sldId="2145707168"/>
            <ac:spMk id="425" creationId="{4055F9D5-DF6B-4E5B-942F-FB6ABA962E4B}"/>
          </ac:spMkLst>
        </pc:spChg>
        <pc:spChg chg="del">
          <ac:chgData name="Eugenio Hernandez Contreras" userId="374f78fa-7281-443b-bdfc-66b046773caf" providerId="ADAL" clId="{863909F5-FE08-4870-8738-CC816B3DB792}" dt="2022-11-22T15:45:05.780" v="3312"/>
          <ac:spMkLst>
            <pc:docMk/>
            <pc:sldMk cId="455621584" sldId="2145707168"/>
            <ac:spMk id="426" creationId="{865B86D6-3FA4-4B39-9957-B4E3B06B3B41}"/>
          </ac:spMkLst>
        </pc:spChg>
        <pc:grpChg chg="add mod">
          <ac:chgData name="Eugenio Hernandez Contreras" userId="374f78fa-7281-443b-bdfc-66b046773caf" providerId="ADAL" clId="{863909F5-FE08-4870-8738-CC816B3DB792}" dt="2022-11-22T17:01:50.804" v="4405" actId="1076"/>
          <ac:grpSpMkLst>
            <pc:docMk/>
            <pc:sldMk cId="455621584" sldId="2145707168"/>
            <ac:grpSpMk id="14" creationId="{7F858205-0CF8-4C93-9123-964912128E4F}"/>
          </ac:grpSpMkLst>
        </pc:grpChg>
        <pc:grpChg chg="add mod">
          <ac:chgData name="Eugenio Hernandez Contreras" userId="374f78fa-7281-443b-bdfc-66b046773caf" providerId="ADAL" clId="{863909F5-FE08-4870-8738-CC816B3DB792}" dt="2022-11-22T17:25:26.007" v="5048" actId="164"/>
          <ac:grpSpMkLst>
            <pc:docMk/>
            <pc:sldMk cId="455621584" sldId="2145707168"/>
            <ac:grpSpMk id="17" creationId="{11C0B9A8-8343-4B0D-9E97-20B368FBC27C}"/>
          </ac:grpSpMkLst>
        </pc:grpChg>
        <pc:grpChg chg="add del mod">
          <ac:chgData name="Eugenio Hernandez Contreras" userId="374f78fa-7281-443b-bdfc-66b046773caf" providerId="ADAL" clId="{863909F5-FE08-4870-8738-CC816B3DB792}" dt="2022-11-22T17:05:14.479" v="4448" actId="165"/>
          <ac:grpSpMkLst>
            <pc:docMk/>
            <pc:sldMk cId="455621584" sldId="2145707168"/>
            <ac:grpSpMk id="24" creationId="{02F7DDAB-C932-4F8D-B54D-AA0305E481E9}"/>
          </ac:grpSpMkLst>
        </pc:grpChg>
        <pc:grpChg chg="add mod">
          <ac:chgData name="Eugenio Hernandez Contreras" userId="374f78fa-7281-443b-bdfc-66b046773caf" providerId="ADAL" clId="{863909F5-FE08-4870-8738-CC816B3DB792}" dt="2022-11-22T17:05:23.839" v="4451" actId="12788"/>
          <ac:grpSpMkLst>
            <pc:docMk/>
            <pc:sldMk cId="455621584" sldId="2145707168"/>
            <ac:grpSpMk id="25" creationId="{2C76D650-AFD7-4972-A449-447CA00820A1}"/>
          </ac:grpSpMkLst>
        </pc:grpChg>
        <pc:grpChg chg="add mod">
          <ac:chgData name="Eugenio Hernandez Contreras" userId="374f78fa-7281-443b-bdfc-66b046773caf" providerId="ADAL" clId="{863909F5-FE08-4870-8738-CC816B3DB792}" dt="2022-11-22T17:24:54.374" v="5043" actId="12788"/>
          <ac:grpSpMkLst>
            <pc:docMk/>
            <pc:sldMk cId="455621584" sldId="2145707168"/>
            <ac:grpSpMk id="28" creationId="{C4BBACC4-AFA3-4834-BFB8-158A365C3E8E}"/>
          </ac:grpSpMkLst>
        </pc:grpChg>
        <pc:grpChg chg="add mod">
          <ac:chgData name="Eugenio Hernandez Contreras" userId="374f78fa-7281-443b-bdfc-66b046773caf" providerId="ADAL" clId="{863909F5-FE08-4870-8738-CC816B3DB792}" dt="2022-11-22T17:24:52.682" v="5042" actId="164"/>
          <ac:grpSpMkLst>
            <pc:docMk/>
            <pc:sldMk cId="455621584" sldId="2145707168"/>
            <ac:grpSpMk id="29" creationId="{BA4372CD-B0F8-41A0-BD0B-392E893CCA67}"/>
          </ac:grpSpMkLst>
        </pc:grpChg>
        <pc:grpChg chg="add mod">
          <ac:chgData name="Eugenio Hernandez Contreras" userId="374f78fa-7281-443b-bdfc-66b046773caf" providerId="ADAL" clId="{863909F5-FE08-4870-8738-CC816B3DB792}" dt="2022-11-22T17:28:02.339" v="5079" actId="1076"/>
          <ac:grpSpMkLst>
            <pc:docMk/>
            <pc:sldMk cId="455621584" sldId="2145707168"/>
            <ac:grpSpMk id="30" creationId="{05B0161B-4C20-4B65-BA39-1D545824BD11}"/>
          </ac:grpSpMkLst>
        </pc:grpChg>
        <pc:grpChg chg="add mod">
          <ac:chgData name="Eugenio Hernandez Contreras" userId="374f78fa-7281-443b-bdfc-66b046773caf" providerId="ADAL" clId="{863909F5-FE08-4870-8738-CC816B3DB792}" dt="2022-11-22T17:35:06.647" v="5279" actId="1035"/>
          <ac:grpSpMkLst>
            <pc:docMk/>
            <pc:sldMk cId="455621584" sldId="2145707168"/>
            <ac:grpSpMk id="38" creationId="{72FA94F3-3C71-4C6A-B981-EB4072C499BB}"/>
          </ac:grpSpMkLst>
        </pc:grpChg>
        <pc:grpChg chg="add mod">
          <ac:chgData name="Eugenio Hernandez Contreras" userId="374f78fa-7281-443b-bdfc-66b046773caf" providerId="ADAL" clId="{863909F5-FE08-4870-8738-CC816B3DB792}" dt="2022-11-22T17:04:48.202" v="4441" actId="571"/>
          <ac:grpSpMkLst>
            <pc:docMk/>
            <pc:sldMk cId="455621584" sldId="2145707168"/>
            <ac:grpSpMk id="74" creationId="{60EB92C5-62D7-43C5-8BD5-3A0AC5FA5D14}"/>
          </ac:grpSpMkLst>
        </pc:grpChg>
        <pc:graphicFrameChg chg="mod">
          <ac:chgData name="Eugenio Hernandez Contreras" userId="374f78fa-7281-443b-bdfc-66b046773caf" providerId="ADAL" clId="{863909F5-FE08-4870-8738-CC816B3DB792}" dt="2022-11-22T15:45:05.796" v="3315"/>
          <ac:graphicFrameMkLst>
            <pc:docMk/>
            <pc:sldMk cId="455621584" sldId="2145707168"/>
            <ac:graphicFrameMk id="4" creationId="{C0B58E41-F8CD-43A8-B9AD-2D3B6C44886B}"/>
          </ac:graphicFrameMkLst>
        </pc:graphicFrameChg>
        <pc:graphicFrameChg chg="del">
          <ac:chgData name="Eugenio Hernandez Contreras" userId="374f78fa-7281-443b-bdfc-66b046773caf" providerId="ADAL" clId="{863909F5-FE08-4870-8738-CC816B3DB792}" dt="2022-11-22T15:45:05.750" v="3270"/>
          <ac:graphicFrameMkLst>
            <pc:docMk/>
            <pc:sldMk cId="455621584" sldId="2145707168"/>
            <ac:graphicFrameMk id="77" creationId="{36EE5665-DA98-4F24-BB16-7A720796341A}"/>
          </ac:graphicFrameMkLst>
        </pc:graphicFrameChg>
        <pc:picChg chg="add mod">
          <ac:chgData name="Eugenio Hernandez Contreras" userId="374f78fa-7281-443b-bdfc-66b046773caf" providerId="ADAL" clId="{863909F5-FE08-4870-8738-CC816B3DB792}" dt="2022-11-22T17:26:26.098" v="5063" actId="1076"/>
          <ac:picMkLst>
            <pc:docMk/>
            <pc:sldMk cId="455621584" sldId="2145707168"/>
            <ac:picMk id="7" creationId="{C8AE13CD-B7CF-4C6A-9810-4804F3A6E206}"/>
          </ac:picMkLst>
        </pc:picChg>
        <pc:picChg chg="add mod">
          <ac:chgData name="Eugenio Hernandez Contreras" userId="374f78fa-7281-443b-bdfc-66b046773caf" providerId="ADAL" clId="{863909F5-FE08-4870-8738-CC816B3DB792}" dt="2022-11-22T15:48:35.993" v="3348" actId="164"/>
          <ac:picMkLst>
            <pc:docMk/>
            <pc:sldMk cId="455621584" sldId="2145707168"/>
            <ac:picMk id="9" creationId="{5E3DDF70-C478-4908-B98B-5BD4620A18E5}"/>
          </ac:picMkLst>
        </pc:picChg>
        <pc:picChg chg="add mod">
          <ac:chgData name="Eugenio Hernandez Contreras" userId="374f78fa-7281-443b-bdfc-66b046773caf" providerId="ADAL" clId="{863909F5-FE08-4870-8738-CC816B3DB792}" dt="2022-11-22T15:48:35.993" v="3348" actId="164"/>
          <ac:picMkLst>
            <pc:docMk/>
            <pc:sldMk cId="455621584" sldId="2145707168"/>
            <ac:picMk id="11" creationId="{8FA2CAD0-F361-4FAB-80B1-781725BED654}"/>
          </ac:picMkLst>
        </pc:picChg>
        <pc:picChg chg="add mod">
          <ac:chgData name="Eugenio Hernandez Contreras" userId="374f78fa-7281-443b-bdfc-66b046773caf" providerId="ADAL" clId="{863909F5-FE08-4870-8738-CC816B3DB792}" dt="2022-11-22T15:48:35.993" v="3348" actId="164"/>
          <ac:picMkLst>
            <pc:docMk/>
            <pc:sldMk cId="455621584" sldId="2145707168"/>
            <ac:picMk id="13" creationId="{27F94640-CDB7-4F87-BA6A-702609C2E7E9}"/>
          </ac:picMkLst>
        </pc:picChg>
        <pc:picChg chg="add mod">
          <ac:chgData name="Eugenio Hernandez Contreras" userId="374f78fa-7281-443b-bdfc-66b046773caf" providerId="ADAL" clId="{863909F5-FE08-4870-8738-CC816B3DB792}" dt="2022-11-22T15:59:59.569" v="3610" actId="164"/>
          <ac:picMkLst>
            <pc:docMk/>
            <pc:sldMk cId="455621584" sldId="2145707168"/>
            <ac:picMk id="16" creationId="{9EB9A2FE-8054-4F5B-88E5-D896F302A745}"/>
          </ac:picMkLst>
        </pc:picChg>
        <pc:picChg chg="add mod">
          <ac:chgData name="Eugenio Hernandez Contreras" userId="374f78fa-7281-443b-bdfc-66b046773caf" providerId="ADAL" clId="{863909F5-FE08-4870-8738-CC816B3DB792}" dt="2022-11-22T17:02:48.812" v="4415" actId="207"/>
          <ac:picMkLst>
            <pc:docMk/>
            <pc:sldMk cId="455621584" sldId="2145707168"/>
            <ac:picMk id="19" creationId="{CD207F79-F959-4707-9C49-DFD4CB9B1641}"/>
          </ac:picMkLst>
        </pc:picChg>
        <pc:picChg chg="add del mod">
          <ac:chgData name="Eugenio Hernandez Contreras" userId="374f78fa-7281-443b-bdfc-66b046773caf" providerId="ADAL" clId="{863909F5-FE08-4870-8738-CC816B3DB792}" dt="2022-11-22T17:04:53.274" v="4443" actId="478"/>
          <ac:picMkLst>
            <pc:docMk/>
            <pc:sldMk cId="455621584" sldId="2145707168"/>
            <ac:picMk id="23" creationId="{BCC0E418-A78E-476B-B7D6-E0E7CD16865F}"/>
          </ac:picMkLst>
        </pc:picChg>
        <pc:picChg chg="add mod">
          <ac:chgData name="Eugenio Hernandez Contreras" userId="374f78fa-7281-443b-bdfc-66b046773caf" providerId="ADAL" clId="{863909F5-FE08-4870-8738-CC816B3DB792}" dt="2022-11-22T17:24:52.682" v="5042" actId="164"/>
          <ac:picMkLst>
            <pc:docMk/>
            <pc:sldMk cId="455621584" sldId="2145707168"/>
            <ac:picMk id="27" creationId="{8C188FD0-A2A0-48A7-97D3-246B65815AB5}"/>
          </ac:picMkLst>
        </pc:picChg>
        <pc:picChg chg="add mod modCrop">
          <ac:chgData name="Eugenio Hernandez Contreras" userId="374f78fa-7281-443b-bdfc-66b046773caf" providerId="ADAL" clId="{863909F5-FE08-4870-8738-CC816B3DB792}" dt="2022-11-22T17:27:34.154" v="5075" actId="1076"/>
          <ac:picMkLst>
            <pc:docMk/>
            <pc:sldMk cId="455621584" sldId="2145707168"/>
            <ac:picMk id="32" creationId="{F631CBF2-E796-44C6-AB66-0C9D205EFB47}"/>
          </ac:picMkLst>
        </pc:picChg>
        <pc:picChg chg="add mod">
          <ac:chgData name="Eugenio Hernandez Contreras" userId="374f78fa-7281-443b-bdfc-66b046773caf" providerId="ADAL" clId="{863909F5-FE08-4870-8738-CC816B3DB792}" dt="2022-11-22T17:33:34.778" v="5265" actId="14100"/>
          <ac:picMkLst>
            <pc:docMk/>
            <pc:sldMk cId="455621584" sldId="2145707168"/>
            <ac:picMk id="34" creationId="{E0875D43-A398-45D4-A027-829D7F6CE152}"/>
          </ac:picMkLst>
        </pc:picChg>
        <pc:picChg chg="add mod">
          <ac:chgData name="Eugenio Hernandez Contreras" userId="374f78fa-7281-443b-bdfc-66b046773caf" providerId="ADAL" clId="{863909F5-FE08-4870-8738-CC816B3DB792}" dt="2022-11-22T17:34:51.734" v="5274" actId="164"/>
          <ac:picMkLst>
            <pc:docMk/>
            <pc:sldMk cId="455621584" sldId="2145707168"/>
            <ac:picMk id="36" creationId="{7FC4FA74-1AD4-4F02-8C43-D23EC0F5D719}"/>
          </ac:picMkLst>
        </pc:picChg>
        <pc:picChg chg="add del mod">
          <ac:chgData name="Eugenio Hernandez Contreras" userId="374f78fa-7281-443b-bdfc-66b046773caf" providerId="ADAL" clId="{863909F5-FE08-4870-8738-CC816B3DB792}" dt="2022-11-22T17:03:18.755" v="4420" actId="478"/>
          <ac:picMkLst>
            <pc:docMk/>
            <pc:sldMk cId="455621584" sldId="2145707168"/>
            <ac:picMk id="48" creationId="{11B5348F-E957-4B5D-BEF5-AAF76DA0D5A6}"/>
          </ac:picMkLst>
        </pc:picChg>
        <pc:picChg chg="add del mod">
          <ac:chgData name="Eugenio Hernandez Contreras" userId="374f78fa-7281-443b-bdfc-66b046773caf" providerId="ADAL" clId="{863909F5-FE08-4870-8738-CC816B3DB792}" dt="2022-11-22T17:02:35.291" v="4413" actId="478"/>
          <ac:picMkLst>
            <pc:docMk/>
            <pc:sldMk cId="455621584" sldId="2145707168"/>
            <ac:picMk id="53" creationId="{21FF365F-3A8A-4FFE-A6FD-85035DCA53EE}"/>
          </ac:picMkLst>
        </pc:picChg>
        <pc:picChg chg="add del mod">
          <ac:chgData name="Eugenio Hernandez Contreras" userId="374f78fa-7281-443b-bdfc-66b046773caf" providerId="ADAL" clId="{863909F5-FE08-4870-8738-CC816B3DB792}" dt="2022-11-22T17:23:56.639" v="5030" actId="478"/>
          <ac:picMkLst>
            <pc:docMk/>
            <pc:sldMk cId="455621584" sldId="2145707168"/>
            <ac:picMk id="56" creationId="{E234C5DE-9063-4613-9BEE-44D1985B1B94}"/>
          </ac:picMkLst>
        </pc:picChg>
        <pc:picChg chg="add mod topLvl">
          <ac:chgData name="Eugenio Hernandez Contreras" userId="374f78fa-7281-443b-bdfc-66b046773caf" providerId="ADAL" clId="{863909F5-FE08-4870-8738-CC816B3DB792}" dt="2022-11-22T17:05:21.449" v="4450" actId="164"/>
          <ac:picMkLst>
            <pc:docMk/>
            <pc:sldMk cId="455621584" sldId="2145707168"/>
            <ac:picMk id="70" creationId="{10D27B3B-7132-475D-A2FA-351B109894C7}"/>
          </ac:picMkLst>
        </pc:picChg>
        <pc:picChg chg="mod">
          <ac:chgData name="Eugenio Hernandez Contreras" userId="374f78fa-7281-443b-bdfc-66b046773caf" providerId="ADAL" clId="{863909F5-FE08-4870-8738-CC816B3DB792}" dt="2022-11-22T17:04:48.202" v="4441" actId="571"/>
          <ac:picMkLst>
            <pc:docMk/>
            <pc:sldMk cId="455621584" sldId="2145707168"/>
            <ac:picMk id="76" creationId="{B285980E-63EE-4317-95F2-7C92BBC1C0CC}"/>
          </ac:picMkLst>
        </pc:picChg>
        <pc:picChg chg="add mod">
          <ac:chgData name="Eugenio Hernandez Contreras" userId="374f78fa-7281-443b-bdfc-66b046773caf" providerId="ADAL" clId="{863909F5-FE08-4870-8738-CC816B3DB792}" dt="2022-11-22T17:33:39.153" v="5266" actId="14100"/>
          <ac:picMkLst>
            <pc:docMk/>
            <pc:sldMk cId="455621584" sldId="2145707168"/>
            <ac:picMk id="90" creationId="{ADFF1805-B8E3-45D4-AD1F-DF237EA8A297}"/>
          </ac:picMkLst>
        </pc:picChg>
        <pc:cxnChg chg="del">
          <ac:chgData name="Eugenio Hernandez Contreras" userId="374f78fa-7281-443b-bdfc-66b046773caf" providerId="ADAL" clId="{863909F5-FE08-4870-8738-CC816B3DB792}" dt="2022-11-22T15:45:05.775" v="3306"/>
          <ac:cxnSpMkLst>
            <pc:docMk/>
            <pc:sldMk cId="455621584" sldId="2145707168"/>
            <ac:cxnSpMk id="296" creationId="{166B82B4-42AD-41AF-95EC-DD21E65089B7}"/>
          </ac:cxnSpMkLst>
        </pc:cxnChg>
        <pc:cxnChg chg="del">
          <ac:chgData name="Eugenio Hernandez Contreras" userId="374f78fa-7281-443b-bdfc-66b046773caf" providerId="ADAL" clId="{863909F5-FE08-4870-8738-CC816B3DB792}" dt="2022-11-22T15:45:05.755" v="3278"/>
          <ac:cxnSpMkLst>
            <pc:docMk/>
            <pc:sldMk cId="455621584" sldId="2145707168"/>
            <ac:cxnSpMk id="324" creationId="{D44761CA-57C0-4C7B-B4BF-AC873B86C6DC}"/>
          </ac:cxnSpMkLst>
        </pc:cxnChg>
      </pc:sldChg>
      <pc:sldChg chg="addSp delSp modSp add mod">
        <pc:chgData name="Eugenio Hernandez Contreras" userId="374f78fa-7281-443b-bdfc-66b046773caf" providerId="ADAL" clId="{863909F5-FE08-4870-8738-CC816B3DB792}" dt="2022-11-22T17:46:32.127" v="5870" actId="1035"/>
        <pc:sldMkLst>
          <pc:docMk/>
          <pc:sldMk cId="3853858438" sldId="2145707169"/>
        </pc:sldMkLst>
        <pc:spChg chg="mod ord">
          <ac:chgData name="Eugenio Hernandez Contreras" userId="374f78fa-7281-443b-bdfc-66b046773caf" providerId="ADAL" clId="{863909F5-FE08-4870-8738-CC816B3DB792}" dt="2022-11-22T16:17:21.267" v="4099"/>
          <ac:spMkLst>
            <pc:docMk/>
            <pc:sldMk cId="3853858438" sldId="2145707169"/>
            <ac:spMk id="2" creationId="{00000000-0000-0000-0000-000000000000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25.356" v="2285"/>
          <ac:spMkLst>
            <pc:docMk/>
            <pc:sldMk cId="3853858438" sldId="2145707169"/>
            <ac:spMk id="3" creationId="{99BACA94-881D-4C17-90F2-0F4787857792}"/>
          </ac:spMkLst>
        </pc:spChg>
        <pc:spChg chg="add del mod ord">
          <ac:chgData name="Eugenio Hernandez Contreras" userId="374f78fa-7281-443b-bdfc-66b046773caf" providerId="ADAL" clId="{863909F5-FE08-4870-8738-CC816B3DB792}" dt="2022-11-22T16:17:21.268" v="4101"/>
          <ac:spMkLst>
            <pc:docMk/>
            <pc:sldMk cId="3853858438" sldId="2145707169"/>
            <ac:spMk id="5" creationId="{62C68A46-D53F-4F97-9C58-D749FFE6030E}"/>
          </ac:spMkLst>
        </pc:spChg>
        <pc:spChg chg="add del mod modVis">
          <ac:chgData name="Eugenio Hernandez Contreras" userId="374f78fa-7281-443b-bdfc-66b046773caf" providerId="ADAL" clId="{863909F5-FE08-4870-8738-CC816B3DB792}" dt="2022-11-22T15:39:26.014" v="2328"/>
          <ac:spMkLst>
            <pc:docMk/>
            <pc:sldMk cId="3853858438" sldId="2145707169"/>
            <ac:spMk id="6" creationId="{5DD563F0-385C-42D2-91BD-C34D00105763}"/>
          </ac:spMkLst>
        </pc:spChg>
        <pc:spChg chg="add del mod modVis">
          <ac:chgData name="Eugenio Hernandez Contreras" userId="374f78fa-7281-443b-bdfc-66b046773caf" providerId="ADAL" clId="{863909F5-FE08-4870-8738-CC816B3DB792}" dt="2022-11-22T15:40:18.785" v="3189"/>
          <ac:spMkLst>
            <pc:docMk/>
            <pc:sldMk cId="3853858438" sldId="2145707169"/>
            <ac:spMk id="7" creationId="{6AA5F73E-0781-4A6E-9857-17647B5B1C4B}"/>
          </ac:spMkLst>
        </pc:spChg>
        <pc:spChg chg="mod">
          <ac:chgData name="Eugenio Hernandez Contreras" userId="374f78fa-7281-443b-bdfc-66b046773caf" providerId="ADAL" clId="{863909F5-FE08-4870-8738-CC816B3DB792}" dt="2022-11-22T16:17:21.268" v="4102"/>
          <ac:spMkLst>
            <pc:docMk/>
            <pc:sldMk cId="3853858438" sldId="2145707169"/>
            <ac:spMk id="20" creationId="{2A8F22E4-E887-4A4D-8370-FBEF16D8C9FA}"/>
          </ac:spMkLst>
        </pc:spChg>
        <pc:spChg chg="mod">
          <ac:chgData name="Eugenio Hernandez Contreras" userId="374f78fa-7281-443b-bdfc-66b046773caf" providerId="ADAL" clId="{863909F5-FE08-4870-8738-CC816B3DB792}" dt="2022-11-22T16:17:21.268" v="4103"/>
          <ac:spMkLst>
            <pc:docMk/>
            <pc:sldMk cId="3853858438" sldId="2145707169"/>
            <ac:spMk id="21" creationId="{2E65263F-204F-4F88-96EB-120212171C3B}"/>
          </ac:spMkLst>
        </pc:spChg>
        <pc:spChg chg="add del">
          <ac:chgData name="Eugenio Hernandez Contreras" userId="374f78fa-7281-443b-bdfc-66b046773caf" providerId="ADAL" clId="{863909F5-FE08-4870-8738-CC816B3DB792}" dt="2022-11-22T15:40:21.354" v="3192" actId="478"/>
          <ac:spMkLst>
            <pc:docMk/>
            <pc:sldMk cId="3853858438" sldId="2145707169"/>
            <ac:spMk id="37" creationId="{7570071B-E8DB-405A-9725-86E6EC89690B}"/>
          </ac:spMkLst>
        </pc:spChg>
        <pc:spChg chg="add del mod">
          <ac:chgData name="Eugenio Hernandez Contreras" userId="374f78fa-7281-443b-bdfc-66b046773caf" providerId="ADAL" clId="{863909F5-FE08-4870-8738-CC816B3DB792}" dt="2022-11-22T15:43:54.877" v="3223" actId="478"/>
          <ac:spMkLst>
            <pc:docMk/>
            <pc:sldMk cId="3853858438" sldId="2145707169"/>
            <ac:spMk id="44" creationId="{20E306C7-2948-4369-8B86-8CF330269221}"/>
          </ac:spMkLst>
        </pc:spChg>
        <pc:spChg chg="add mod ord">
          <ac:chgData name="Eugenio Hernandez Contreras" userId="374f78fa-7281-443b-bdfc-66b046773caf" providerId="ADAL" clId="{863909F5-FE08-4870-8738-CC816B3DB792}" dt="2022-11-22T16:58:02.909" v="4372" actId="1035"/>
          <ac:spMkLst>
            <pc:docMk/>
            <pc:sldMk cId="3853858438" sldId="2145707169"/>
            <ac:spMk id="45" creationId="{68757221-3B9A-49A2-91C3-180230DF74CB}"/>
          </ac:spMkLst>
        </pc:spChg>
        <pc:spChg chg="add del mod">
          <ac:chgData name="Eugenio Hernandez Contreras" userId="374f78fa-7281-443b-bdfc-66b046773caf" providerId="ADAL" clId="{863909F5-FE08-4870-8738-CC816B3DB792}" dt="2022-11-22T15:44:52.426" v="3250" actId="478"/>
          <ac:spMkLst>
            <pc:docMk/>
            <pc:sldMk cId="3853858438" sldId="2145707169"/>
            <ac:spMk id="48" creationId="{4EE311BA-2940-4E58-8688-C7D7E9B6AC8D}"/>
          </ac:spMkLst>
        </pc:spChg>
        <pc:spChg chg="add mod ord">
          <ac:chgData name="Eugenio Hernandez Contreras" userId="374f78fa-7281-443b-bdfc-66b046773caf" providerId="ADAL" clId="{863909F5-FE08-4870-8738-CC816B3DB792}" dt="2022-11-22T17:07:17.966" v="4489" actId="12788"/>
          <ac:spMkLst>
            <pc:docMk/>
            <pc:sldMk cId="3853858438" sldId="2145707169"/>
            <ac:spMk id="49" creationId="{1482B671-A36C-4A0A-B22B-AE9CB5F68D73}"/>
          </ac:spMkLst>
        </pc:spChg>
        <pc:spChg chg="add mod ord topLvl">
          <ac:chgData name="Eugenio Hernandez Contreras" userId="374f78fa-7281-443b-bdfc-66b046773caf" providerId="ADAL" clId="{863909F5-FE08-4870-8738-CC816B3DB792}" dt="2022-11-22T17:07:14.106" v="4488" actId="164"/>
          <ac:spMkLst>
            <pc:docMk/>
            <pc:sldMk cId="3853858438" sldId="2145707169"/>
            <ac:spMk id="50" creationId="{C0ADF5F0-6F0E-4488-B71D-94B431AF9BFD}"/>
          </ac:spMkLst>
        </pc:spChg>
        <pc:spChg chg="add mod ord">
          <ac:chgData name="Eugenio Hernandez Contreras" userId="374f78fa-7281-443b-bdfc-66b046773caf" providerId="ADAL" clId="{863909F5-FE08-4870-8738-CC816B3DB792}" dt="2022-11-22T17:07:54.574" v="4510" actId="164"/>
          <ac:spMkLst>
            <pc:docMk/>
            <pc:sldMk cId="3853858438" sldId="2145707169"/>
            <ac:spMk id="54" creationId="{583C9A28-F13B-4A76-95EA-A5090FEE13B8}"/>
          </ac:spMkLst>
        </pc:spChg>
        <pc:spChg chg="add mod ord">
          <ac:chgData name="Eugenio Hernandez Contreras" userId="374f78fa-7281-443b-bdfc-66b046773caf" providerId="ADAL" clId="{863909F5-FE08-4870-8738-CC816B3DB792}" dt="2022-11-22T17:08:16.636" v="4515" actId="14100"/>
          <ac:spMkLst>
            <pc:docMk/>
            <pc:sldMk cId="3853858438" sldId="2145707169"/>
            <ac:spMk id="55" creationId="{1BCF2C10-3D80-44F2-88E3-CDB32B19A53D}"/>
          </ac:spMkLst>
        </pc:spChg>
        <pc:spChg chg="add mod ord topLvl">
          <ac:chgData name="Eugenio Hernandez Contreras" userId="374f78fa-7281-443b-bdfc-66b046773caf" providerId="ADAL" clId="{863909F5-FE08-4870-8738-CC816B3DB792}" dt="2022-11-22T16:29:16.556" v="4219" actId="12788"/>
          <ac:spMkLst>
            <pc:docMk/>
            <pc:sldMk cId="3853858438" sldId="2145707169"/>
            <ac:spMk id="56" creationId="{EB789AC4-5E90-40AB-8E30-254DDC11BF7F}"/>
          </ac:spMkLst>
        </pc:spChg>
        <pc:spChg chg="add mod ord topLvl">
          <ac:chgData name="Eugenio Hernandez Contreras" userId="374f78fa-7281-443b-bdfc-66b046773caf" providerId="ADAL" clId="{863909F5-FE08-4870-8738-CC816B3DB792}" dt="2022-11-22T17:07:46.828" v="4509" actId="1035"/>
          <ac:spMkLst>
            <pc:docMk/>
            <pc:sldMk cId="3853858438" sldId="2145707169"/>
            <ac:spMk id="57" creationId="{D0786E63-66D7-4B5E-B3E3-8B14236C4793}"/>
          </ac:spMkLst>
        </pc:spChg>
        <pc:spChg chg="add del mod ord">
          <ac:chgData name="Eugenio Hernandez Contreras" userId="374f78fa-7281-443b-bdfc-66b046773caf" providerId="ADAL" clId="{863909F5-FE08-4870-8738-CC816B3DB792}" dt="2022-11-22T16:17:21.269" v="4105"/>
          <ac:spMkLst>
            <pc:docMk/>
            <pc:sldMk cId="3853858438" sldId="2145707169"/>
            <ac:spMk id="58" creationId="{1E4D2392-9ED4-439F-98A9-5ED47C9CABF3}"/>
          </ac:spMkLst>
        </pc:spChg>
        <pc:spChg chg="add mod">
          <ac:chgData name="Eugenio Hernandez Contreras" userId="374f78fa-7281-443b-bdfc-66b046773caf" providerId="ADAL" clId="{863909F5-FE08-4870-8738-CC816B3DB792}" dt="2022-11-22T16:30:12.021" v="4224" actId="207"/>
          <ac:spMkLst>
            <pc:docMk/>
            <pc:sldMk cId="3853858438" sldId="2145707169"/>
            <ac:spMk id="67" creationId="{FA511607-97A5-4E4B-AEC7-12D18E4F490C}"/>
          </ac:spMkLst>
        </pc:spChg>
        <pc:spChg chg="add del">
          <ac:chgData name="Eugenio Hernandez Contreras" userId="374f78fa-7281-443b-bdfc-66b046773caf" providerId="ADAL" clId="{863909F5-FE08-4870-8738-CC816B3DB792}" dt="2022-11-22T15:40:18.743" v="3149"/>
          <ac:spMkLst>
            <pc:docMk/>
            <pc:sldMk cId="3853858438" sldId="2145707169"/>
            <ac:spMk id="73" creationId="{D635862A-994C-4BC4-83C7-D31F96AB814C}"/>
          </ac:spMkLst>
        </pc:spChg>
        <pc:spChg chg="add mod">
          <ac:chgData name="Eugenio Hernandez Contreras" userId="374f78fa-7281-443b-bdfc-66b046773caf" providerId="ADAL" clId="{863909F5-FE08-4870-8738-CC816B3DB792}" dt="2022-11-22T16:41:42.590" v="4256" actId="1582"/>
          <ac:spMkLst>
            <pc:docMk/>
            <pc:sldMk cId="3853858438" sldId="2145707169"/>
            <ac:spMk id="74" creationId="{003EA460-8D17-4F63-A114-9B7C84B770C3}"/>
          </ac:spMkLst>
        </pc:spChg>
        <pc:spChg chg="add mod">
          <ac:chgData name="Eugenio Hernandez Contreras" userId="374f78fa-7281-443b-bdfc-66b046773caf" providerId="ADAL" clId="{863909F5-FE08-4870-8738-CC816B3DB792}" dt="2022-11-22T17:46:32.127" v="5870" actId="1035"/>
          <ac:spMkLst>
            <pc:docMk/>
            <pc:sldMk cId="3853858438" sldId="2145707169"/>
            <ac:spMk id="82" creationId="{E3FB008F-FA0E-4397-A49F-92C2EB4F7BEB}"/>
          </ac:spMkLst>
        </pc:spChg>
        <pc:spChg chg="add mod">
          <ac:chgData name="Eugenio Hernandez Contreras" userId="374f78fa-7281-443b-bdfc-66b046773caf" providerId="ADAL" clId="{863909F5-FE08-4870-8738-CC816B3DB792}" dt="2022-11-22T17:46:32.127" v="5870" actId="1035"/>
          <ac:spMkLst>
            <pc:docMk/>
            <pc:sldMk cId="3853858438" sldId="2145707169"/>
            <ac:spMk id="83" creationId="{FA63AD0E-69D0-4BEA-BE8B-7B8625DE0048}"/>
          </ac:spMkLst>
        </pc:spChg>
        <pc:spChg chg="add mod">
          <ac:chgData name="Eugenio Hernandez Contreras" userId="374f78fa-7281-443b-bdfc-66b046773caf" providerId="ADAL" clId="{863909F5-FE08-4870-8738-CC816B3DB792}" dt="2022-11-22T17:46:32.127" v="5870" actId="1035"/>
          <ac:spMkLst>
            <pc:docMk/>
            <pc:sldMk cId="3853858438" sldId="2145707169"/>
            <ac:spMk id="84" creationId="{36A0F8D0-DE3C-438A-9FEF-64F090E4C4F3}"/>
          </ac:spMkLst>
        </pc:spChg>
        <pc:spChg chg="add mod">
          <ac:chgData name="Eugenio Hernandez Contreras" userId="374f78fa-7281-443b-bdfc-66b046773caf" providerId="ADAL" clId="{863909F5-FE08-4870-8738-CC816B3DB792}" dt="2022-11-22T17:46:32.127" v="5870" actId="1035"/>
          <ac:spMkLst>
            <pc:docMk/>
            <pc:sldMk cId="3853858438" sldId="2145707169"/>
            <ac:spMk id="88" creationId="{3C3323D5-1D86-49DE-9BA8-106610E01393}"/>
          </ac:spMkLst>
        </pc:spChg>
        <pc:spChg chg="add del mod">
          <ac:chgData name="Eugenio Hernandez Contreras" userId="374f78fa-7281-443b-bdfc-66b046773caf" providerId="ADAL" clId="{863909F5-FE08-4870-8738-CC816B3DB792}" dt="2022-11-22T17:39:39.673" v="5336" actId="478"/>
          <ac:spMkLst>
            <pc:docMk/>
            <pc:sldMk cId="3853858438" sldId="2145707169"/>
            <ac:spMk id="89" creationId="{D179D645-35CC-453B-B5AF-89722E179F4C}"/>
          </ac:spMkLst>
        </pc:spChg>
        <pc:spChg chg="add del mod">
          <ac:chgData name="Eugenio Hernandez Contreras" userId="374f78fa-7281-443b-bdfc-66b046773caf" providerId="ADAL" clId="{863909F5-FE08-4870-8738-CC816B3DB792}" dt="2022-11-22T17:39:42.775" v="5337" actId="478"/>
          <ac:spMkLst>
            <pc:docMk/>
            <pc:sldMk cId="3853858438" sldId="2145707169"/>
            <ac:spMk id="90" creationId="{4C8BBBB1-4CDB-45BA-B4D9-5CBE637A36A1}"/>
          </ac:spMkLst>
        </pc:spChg>
        <pc:spChg chg="add mod">
          <ac:chgData name="Eugenio Hernandez Contreras" userId="374f78fa-7281-443b-bdfc-66b046773caf" providerId="ADAL" clId="{863909F5-FE08-4870-8738-CC816B3DB792}" dt="2022-11-22T17:46:32.127" v="5870" actId="1035"/>
          <ac:spMkLst>
            <pc:docMk/>
            <pc:sldMk cId="3853858438" sldId="2145707169"/>
            <ac:spMk id="91" creationId="{744A4115-B614-4EE0-B56A-6E475F5147C1}"/>
          </ac:spMkLst>
        </pc:spChg>
        <pc:spChg chg="add mod">
          <ac:chgData name="Eugenio Hernandez Contreras" userId="374f78fa-7281-443b-bdfc-66b046773caf" providerId="ADAL" clId="{863909F5-FE08-4870-8738-CC816B3DB792}" dt="2022-11-22T17:46:32.127" v="5870" actId="1035"/>
          <ac:spMkLst>
            <pc:docMk/>
            <pc:sldMk cId="3853858438" sldId="2145707169"/>
            <ac:spMk id="92" creationId="{B3415B63-4C60-419F-BC60-43C80985346D}"/>
          </ac:spMkLst>
        </pc:spChg>
        <pc:spChg chg="add del">
          <ac:chgData name="Eugenio Hernandez Contreras" userId="374f78fa-7281-443b-bdfc-66b046773caf" providerId="ADAL" clId="{863909F5-FE08-4870-8738-CC816B3DB792}" dt="2022-11-22T15:40:18.727" v="3121"/>
          <ac:spMkLst>
            <pc:docMk/>
            <pc:sldMk cId="3853858438" sldId="2145707169"/>
            <ac:spMk id="297" creationId="{0B576682-EF43-4CB4-B24D-929BCB64B0B5}"/>
          </ac:spMkLst>
        </pc:spChg>
        <pc:spChg chg="add del">
          <ac:chgData name="Eugenio Hernandez Contreras" userId="374f78fa-7281-443b-bdfc-66b046773caf" providerId="ADAL" clId="{863909F5-FE08-4870-8738-CC816B3DB792}" dt="2022-11-22T15:40:18.728" v="3123"/>
          <ac:spMkLst>
            <pc:docMk/>
            <pc:sldMk cId="3853858438" sldId="2145707169"/>
            <ac:spMk id="300" creationId="{063A8B36-D098-4363-9566-9772200CB6A6}"/>
          </ac:spMkLst>
        </pc:spChg>
        <pc:spChg chg="add del">
          <ac:chgData name="Eugenio Hernandez Contreras" userId="374f78fa-7281-443b-bdfc-66b046773caf" providerId="ADAL" clId="{863909F5-FE08-4870-8738-CC816B3DB792}" dt="2022-11-22T15:40:18.729" v="3125"/>
          <ac:spMkLst>
            <pc:docMk/>
            <pc:sldMk cId="3853858438" sldId="2145707169"/>
            <ac:spMk id="302" creationId="{F76778FF-FA19-44C5-A6B2-C0593585C092}"/>
          </ac:spMkLst>
        </pc:spChg>
        <pc:spChg chg="add del">
          <ac:chgData name="Eugenio Hernandez Contreras" userId="374f78fa-7281-443b-bdfc-66b046773caf" providerId="ADAL" clId="{863909F5-FE08-4870-8738-CC816B3DB792}" dt="2022-11-22T15:40:21.354" v="3192" actId="478"/>
          <ac:spMkLst>
            <pc:docMk/>
            <pc:sldMk cId="3853858438" sldId="2145707169"/>
            <ac:spMk id="303" creationId="{EDDD3001-46E9-4B42-A774-0E882E2374EF}"/>
          </ac:spMkLst>
        </pc:spChg>
        <pc:spChg chg="add del">
          <ac:chgData name="Eugenio Hernandez Contreras" userId="374f78fa-7281-443b-bdfc-66b046773caf" providerId="ADAL" clId="{863909F5-FE08-4870-8738-CC816B3DB792}" dt="2022-11-22T15:40:18.726" v="3119"/>
          <ac:spMkLst>
            <pc:docMk/>
            <pc:sldMk cId="3853858438" sldId="2145707169"/>
            <ac:spMk id="304" creationId="{CEA694D2-F401-46FB-A0B8-AAF0E7B6ABCE}"/>
          </ac:spMkLst>
        </pc:spChg>
        <pc:spChg chg="add del">
          <ac:chgData name="Eugenio Hernandez Contreras" userId="374f78fa-7281-443b-bdfc-66b046773caf" providerId="ADAL" clId="{863909F5-FE08-4870-8738-CC816B3DB792}" dt="2022-11-22T15:40:21.354" v="3192" actId="478"/>
          <ac:spMkLst>
            <pc:docMk/>
            <pc:sldMk cId="3853858438" sldId="2145707169"/>
            <ac:spMk id="306" creationId="{875FD60E-CB70-4048-977A-283C3054D726}"/>
          </ac:spMkLst>
        </pc:spChg>
        <pc:spChg chg="add del">
          <ac:chgData name="Eugenio Hernandez Contreras" userId="374f78fa-7281-443b-bdfc-66b046773caf" providerId="ADAL" clId="{863909F5-FE08-4870-8738-CC816B3DB792}" dt="2022-11-22T15:40:18.714" v="3101"/>
          <ac:spMkLst>
            <pc:docMk/>
            <pc:sldMk cId="3853858438" sldId="2145707169"/>
            <ac:spMk id="309" creationId="{94ECFC95-2AEE-4D50-96E8-154AAD5000C0}"/>
          </ac:spMkLst>
        </pc:spChg>
        <pc:spChg chg="add del">
          <ac:chgData name="Eugenio Hernandez Contreras" userId="374f78fa-7281-443b-bdfc-66b046773caf" providerId="ADAL" clId="{863909F5-FE08-4870-8738-CC816B3DB792}" dt="2022-11-22T15:40:18.717" v="3105"/>
          <ac:spMkLst>
            <pc:docMk/>
            <pc:sldMk cId="3853858438" sldId="2145707169"/>
            <ac:spMk id="310" creationId="{A17790B6-3F23-420D-9214-1E6A71206B58}"/>
          </ac:spMkLst>
        </pc:spChg>
        <pc:spChg chg="add del">
          <ac:chgData name="Eugenio Hernandez Contreras" userId="374f78fa-7281-443b-bdfc-66b046773caf" providerId="ADAL" clId="{863909F5-FE08-4870-8738-CC816B3DB792}" dt="2022-11-22T15:40:18.730" v="3127"/>
          <ac:spMkLst>
            <pc:docMk/>
            <pc:sldMk cId="3853858438" sldId="2145707169"/>
            <ac:spMk id="312" creationId="{0FA14468-FFD6-4C5C-AB5E-C80CB1CE8B92}"/>
          </ac:spMkLst>
        </pc:spChg>
        <pc:spChg chg="add del">
          <ac:chgData name="Eugenio Hernandez Contreras" userId="374f78fa-7281-443b-bdfc-66b046773caf" providerId="ADAL" clId="{863909F5-FE08-4870-8738-CC816B3DB792}" dt="2022-11-22T15:40:18.719" v="3109"/>
          <ac:spMkLst>
            <pc:docMk/>
            <pc:sldMk cId="3853858438" sldId="2145707169"/>
            <ac:spMk id="314" creationId="{B85CEB04-14F9-49FB-B51D-EE5F72FE2D29}"/>
          </ac:spMkLst>
        </pc:spChg>
        <pc:spChg chg="add del">
          <ac:chgData name="Eugenio Hernandez Contreras" userId="374f78fa-7281-443b-bdfc-66b046773caf" providerId="ADAL" clId="{863909F5-FE08-4870-8738-CC816B3DB792}" dt="2022-11-22T15:40:18.725" v="3117"/>
          <ac:spMkLst>
            <pc:docMk/>
            <pc:sldMk cId="3853858438" sldId="2145707169"/>
            <ac:spMk id="316" creationId="{A5058C9B-E452-4426-8AC3-EC7835026FF9}"/>
          </ac:spMkLst>
        </pc:spChg>
        <pc:spChg chg="add del">
          <ac:chgData name="Eugenio Hernandez Contreras" userId="374f78fa-7281-443b-bdfc-66b046773caf" providerId="ADAL" clId="{863909F5-FE08-4870-8738-CC816B3DB792}" dt="2022-11-22T15:40:18.716" v="3103"/>
          <ac:spMkLst>
            <pc:docMk/>
            <pc:sldMk cId="3853858438" sldId="2145707169"/>
            <ac:spMk id="318" creationId="{2B6BC223-6AD0-4CD0-BBDB-AFC4A714EE5C}"/>
          </ac:spMkLst>
        </pc:spChg>
        <pc:spChg chg="add del">
          <ac:chgData name="Eugenio Hernandez Contreras" userId="374f78fa-7281-443b-bdfc-66b046773caf" providerId="ADAL" clId="{863909F5-FE08-4870-8738-CC816B3DB792}" dt="2022-11-22T15:40:18.718" v="3107"/>
          <ac:spMkLst>
            <pc:docMk/>
            <pc:sldMk cId="3853858438" sldId="2145707169"/>
            <ac:spMk id="319" creationId="{7B657F3C-7B66-44DC-A05A-63FE5DC4840B}"/>
          </ac:spMkLst>
        </pc:spChg>
        <pc:spChg chg="add del">
          <ac:chgData name="Eugenio Hernandez Contreras" userId="374f78fa-7281-443b-bdfc-66b046773caf" providerId="ADAL" clId="{863909F5-FE08-4870-8738-CC816B3DB792}" dt="2022-11-22T15:40:18.720" v="3111"/>
          <ac:spMkLst>
            <pc:docMk/>
            <pc:sldMk cId="3853858438" sldId="2145707169"/>
            <ac:spMk id="320" creationId="{59BFE7D1-C4C7-422D-A430-1F90B7966A7F}"/>
          </ac:spMkLst>
        </pc:spChg>
        <pc:spChg chg="add del">
          <ac:chgData name="Eugenio Hernandez Contreras" userId="374f78fa-7281-443b-bdfc-66b046773caf" providerId="ADAL" clId="{863909F5-FE08-4870-8738-CC816B3DB792}" dt="2022-11-22T15:40:18.722" v="3115"/>
          <ac:spMkLst>
            <pc:docMk/>
            <pc:sldMk cId="3853858438" sldId="2145707169"/>
            <ac:spMk id="325" creationId="{F0D8CDD0-6744-458F-82BB-1A639401E690}"/>
          </ac:spMkLst>
        </pc:spChg>
        <pc:spChg chg="add del">
          <ac:chgData name="Eugenio Hernandez Contreras" userId="374f78fa-7281-443b-bdfc-66b046773caf" providerId="ADAL" clId="{863909F5-FE08-4870-8738-CC816B3DB792}" dt="2022-11-22T15:40:18.742" v="3147"/>
          <ac:spMkLst>
            <pc:docMk/>
            <pc:sldMk cId="3853858438" sldId="2145707169"/>
            <ac:spMk id="416" creationId="{A3B0DD5B-E9A4-42CD-B795-B9ED9E4BFA32}"/>
          </ac:spMkLst>
        </pc:spChg>
        <pc:spChg chg="add del">
          <ac:chgData name="Eugenio Hernandez Contreras" userId="374f78fa-7281-443b-bdfc-66b046773caf" providerId="ADAL" clId="{863909F5-FE08-4870-8738-CC816B3DB792}" dt="2022-11-22T15:40:18.734" v="3133"/>
          <ac:spMkLst>
            <pc:docMk/>
            <pc:sldMk cId="3853858438" sldId="2145707169"/>
            <ac:spMk id="418" creationId="{8A1DEBB4-1CC8-40B6-A170-FDD97507942A}"/>
          </ac:spMkLst>
        </pc:spChg>
        <pc:spChg chg="add del">
          <ac:chgData name="Eugenio Hernandez Contreras" userId="374f78fa-7281-443b-bdfc-66b046773caf" providerId="ADAL" clId="{863909F5-FE08-4870-8738-CC816B3DB792}" dt="2022-11-22T15:40:18.737" v="3139"/>
          <ac:spMkLst>
            <pc:docMk/>
            <pc:sldMk cId="3853858438" sldId="2145707169"/>
            <ac:spMk id="419" creationId="{F87E6F47-1D5B-4344-96F8-C0E78F9DC399}"/>
          </ac:spMkLst>
        </pc:spChg>
        <pc:spChg chg="add del">
          <ac:chgData name="Eugenio Hernandez Contreras" userId="374f78fa-7281-443b-bdfc-66b046773caf" providerId="ADAL" clId="{863909F5-FE08-4870-8738-CC816B3DB792}" dt="2022-11-22T15:40:18.740" v="3145"/>
          <ac:spMkLst>
            <pc:docMk/>
            <pc:sldMk cId="3853858438" sldId="2145707169"/>
            <ac:spMk id="421" creationId="{28712744-E7F1-4A66-BA4B-E6B599954D28}"/>
          </ac:spMkLst>
        </pc:spChg>
        <pc:spChg chg="add del">
          <ac:chgData name="Eugenio Hernandez Contreras" userId="374f78fa-7281-443b-bdfc-66b046773caf" providerId="ADAL" clId="{863909F5-FE08-4870-8738-CC816B3DB792}" dt="2022-11-22T15:40:18.738" v="3141"/>
          <ac:spMkLst>
            <pc:docMk/>
            <pc:sldMk cId="3853858438" sldId="2145707169"/>
            <ac:spMk id="422" creationId="{3A26AC29-8B5A-46A6-93AB-1F2F40E7E208}"/>
          </ac:spMkLst>
        </pc:spChg>
        <pc:spChg chg="add del">
          <ac:chgData name="Eugenio Hernandez Contreras" userId="374f78fa-7281-443b-bdfc-66b046773caf" providerId="ADAL" clId="{863909F5-FE08-4870-8738-CC816B3DB792}" dt="2022-11-22T15:40:18.733" v="3131"/>
          <ac:spMkLst>
            <pc:docMk/>
            <pc:sldMk cId="3853858438" sldId="2145707169"/>
            <ac:spMk id="423" creationId="{86D23091-0372-4036-8786-9EBB27270470}"/>
          </ac:spMkLst>
        </pc:spChg>
        <pc:spChg chg="add del">
          <ac:chgData name="Eugenio Hernandez Contreras" userId="374f78fa-7281-443b-bdfc-66b046773caf" providerId="ADAL" clId="{863909F5-FE08-4870-8738-CC816B3DB792}" dt="2022-11-22T15:40:18.735" v="3135"/>
          <ac:spMkLst>
            <pc:docMk/>
            <pc:sldMk cId="3853858438" sldId="2145707169"/>
            <ac:spMk id="424" creationId="{0691EEB4-ED29-486B-9CB1-131F725FA40F}"/>
          </ac:spMkLst>
        </pc:spChg>
        <pc:spChg chg="add del">
          <ac:chgData name="Eugenio Hernandez Contreras" userId="374f78fa-7281-443b-bdfc-66b046773caf" providerId="ADAL" clId="{863909F5-FE08-4870-8738-CC816B3DB792}" dt="2022-11-22T15:40:18.738" v="3143"/>
          <ac:spMkLst>
            <pc:docMk/>
            <pc:sldMk cId="3853858438" sldId="2145707169"/>
            <ac:spMk id="425" creationId="{4055F9D5-DF6B-4E5B-942F-FB6ABA962E4B}"/>
          </ac:spMkLst>
        </pc:spChg>
        <pc:spChg chg="add del">
          <ac:chgData name="Eugenio Hernandez Contreras" userId="374f78fa-7281-443b-bdfc-66b046773caf" providerId="ADAL" clId="{863909F5-FE08-4870-8738-CC816B3DB792}" dt="2022-11-22T15:40:18.736" v="3137"/>
          <ac:spMkLst>
            <pc:docMk/>
            <pc:sldMk cId="3853858438" sldId="2145707169"/>
            <ac:spMk id="426" creationId="{865B86D6-3FA4-4B39-9957-B4E3B06B3B41}"/>
          </ac:spMkLst>
        </pc:spChg>
        <pc:grpChg chg="add del mod ord">
          <ac:chgData name="Eugenio Hernandez Contreras" userId="374f78fa-7281-443b-bdfc-66b046773caf" providerId="ADAL" clId="{863909F5-FE08-4870-8738-CC816B3DB792}" dt="2022-11-22T16:20:04.043" v="4145" actId="165"/>
          <ac:grpSpMkLst>
            <pc:docMk/>
            <pc:sldMk cId="3853858438" sldId="2145707169"/>
            <ac:grpSpMk id="17" creationId="{AAE91A50-123B-422C-BFD1-0F5B44429DDF}"/>
          </ac:grpSpMkLst>
        </pc:grpChg>
        <pc:grpChg chg="add del mod">
          <ac:chgData name="Eugenio Hernandez Contreras" userId="374f78fa-7281-443b-bdfc-66b046773caf" providerId="ADAL" clId="{863909F5-FE08-4870-8738-CC816B3DB792}" dt="2022-11-22T17:06:01.143" v="4472" actId="165"/>
          <ac:grpSpMkLst>
            <pc:docMk/>
            <pc:sldMk cId="3853858438" sldId="2145707169"/>
            <ac:grpSpMk id="32" creationId="{7EA64B91-BE21-4EA2-BE5A-35C62F96B9CD}"/>
          </ac:grpSpMkLst>
        </pc:grpChg>
        <pc:grpChg chg="add del mod">
          <ac:chgData name="Eugenio Hernandez Contreras" userId="374f78fa-7281-443b-bdfc-66b046773caf" providerId="ADAL" clId="{863909F5-FE08-4870-8738-CC816B3DB792}" dt="2022-11-22T17:06:13.399" v="4476" actId="165"/>
          <ac:grpSpMkLst>
            <pc:docMk/>
            <pc:sldMk cId="3853858438" sldId="2145707169"/>
            <ac:grpSpMk id="33" creationId="{2663636D-C044-4BD8-9636-D4B0287B9122}"/>
          </ac:grpSpMkLst>
        </pc:grpChg>
        <pc:grpChg chg="add mod">
          <ac:chgData name="Eugenio Hernandez Contreras" userId="374f78fa-7281-443b-bdfc-66b046773caf" providerId="ADAL" clId="{863909F5-FE08-4870-8738-CC816B3DB792}" dt="2022-11-22T17:07:26.881" v="4499" actId="1036"/>
          <ac:grpSpMkLst>
            <pc:docMk/>
            <pc:sldMk cId="3853858438" sldId="2145707169"/>
            <ac:grpSpMk id="36" creationId="{D00B955E-636A-444B-B7D1-DA98DF4A3398}"/>
          </ac:grpSpMkLst>
        </pc:grpChg>
        <pc:grpChg chg="add mod">
          <ac:chgData name="Eugenio Hernandez Contreras" userId="374f78fa-7281-443b-bdfc-66b046773caf" providerId="ADAL" clId="{863909F5-FE08-4870-8738-CC816B3DB792}" dt="2022-11-22T17:07:54.574" v="4510" actId="164"/>
          <ac:grpSpMkLst>
            <pc:docMk/>
            <pc:sldMk cId="3853858438" sldId="2145707169"/>
            <ac:grpSpMk id="38" creationId="{285F5811-5FE4-47DE-A09D-02583CF7391F}"/>
          </ac:grpSpMkLst>
        </pc:grpChg>
        <pc:grpChg chg="add mod">
          <ac:chgData name="Eugenio Hernandez Contreras" userId="374f78fa-7281-443b-bdfc-66b046773caf" providerId="ADAL" clId="{863909F5-FE08-4870-8738-CC816B3DB792}" dt="2022-11-22T17:07:57.848" v="4511" actId="164"/>
          <ac:grpSpMkLst>
            <pc:docMk/>
            <pc:sldMk cId="3853858438" sldId="2145707169"/>
            <ac:grpSpMk id="39" creationId="{6923922C-7D03-47DB-9404-673A429CA66A}"/>
          </ac:grpSpMkLst>
        </pc:grpChg>
        <pc:graphicFrameChg chg="mod">
          <ac:chgData name="Eugenio Hernandez Contreras" userId="374f78fa-7281-443b-bdfc-66b046773caf" providerId="ADAL" clId="{863909F5-FE08-4870-8738-CC816B3DB792}" dt="2022-11-22T16:17:21.278" v="4121"/>
          <ac:graphicFrameMkLst>
            <pc:docMk/>
            <pc:sldMk cId="3853858438" sldId="2145707169"/>
            <ac:graphicFrameMk id="4" creationId="{C0B58E41-F8CD-43A8-B9AD-2D3B6C44886B}"/>
          </ac:graphicFrameMkLst>
        </pc:graphicFrameChg>
        <pc:graphicFrameChg chg="add mod">
          <ac:chgData name="Eugenio Hernandez Contreras" userId="374f78fa-7281-443b-bdfc-66b046773caf" providerId="ADAL" clId="{863909F5-FE08-4870-8738-CC816B3DB792}" dt="2022-11-22T16:40:49.718" v="4245" actId="14100"/>
          <ac:graphicFrameMkLst>
            <pc:docMk/>
            <pc:sldMk cId="3853858438" sldId="2145707169"/>
            <ac:graphicFrameMk id="29" creationId="{1EFC327C-98BA-46B3-8EA7-03944E7D7307}"/>
          </ac:graphicFrameMkLst>
        </pc:graphicFrameChg>
        <pc:graphicFrameChg chg="add del">
          <ac:chgData name="Eugenio Hernandez Contreras" userId="374f78fa-7281-443b-bdfc-66b046773caf" providerId="ADAL" clId="{863909F5-FE08-4870-8738-CC816B3DB792}" dt="2022-11-22T15:40:18.711" v="3099"/>
          <ac:graphicFrameMkLst>
            <pc:docMk/>
            <pc:sldMk cId="3853858438" sldId="2145707169"/>
            <ac:graphicFrameMk id="77" creationId="{36EE5665-DA98-4F24-BB16-7A720796341A}"/>
          </ac:graphicFrameMkLst>
        </pc:graphicFrameChg>
        <pc:picChg chg="add mod ord">
          <ac:chgData name="Eugenio Hernandez Contreras" userId="374f78fa-7281-443b-bdfc-66b046773caf" providerId="ADAL" clId="{863909F5-FE08-4870-8738-CC816B3DB792}" dt="2022-11-22T17:41:27.399" v="5344" actId="1076"/>
          <ac:picMkLst>
            <pc:docMk/>
            <pc:sldMk cId="3853858438" sldId="2145707169"/>
            <ac:picMk id="9" creationId="{CCD0BA52-AB86-425E-94AD-A48D7DEEE61A}"/>
          </ac:picMkLst>
        </pc:picChg>
        <pc:picChg chg="add del mod ord">
          <ac:chgData name="Eugenio Hernandez Contreras" userId="374f78fa-7281-443b-bdfc-66b046773caf" providerId="ADAL" clId="{863909F5-FE08-4870-8738-CC816B3DB792}" dt="2022-11-22T16:34:03.814" v="4235" actId="478"/>
          <ac:picMkLst>
            <pc:docMk/>
            <pc:sldMk cId="3853858438" sldId="2145707169"/>
            <ac:picMk id="15" creationId="{2183BB94-DE6D-4B3A-AC57-5FCE72EAF3C2}"/>
          </ac:picMkLst>
        </pc:picChg>
        <pc:picChg chg="add mod">
          <ac:chgData name="Eugenio Hernandez Contreras" userId="374f78fa-7281-443b-bdfc-66b046773caf" providerId="ADAL" clId="{863909F5-FE08-4870-8738-CC816B3DB792}" dt="2022-11-22T17:07:54.574" v="4510" actId="164"/>
          <ac:picMkLst>
            <pc:docMk/>
            <pc:sldMk cId="3853858438" sldId="2145707169"/>
            <ac:picMk id="19" creationId="{CFDD9D3B-7A62-4AAB-A241-97E9C854CDB9}"/>
          </ac:picMkLst>
        </pc:picChg>
        <pc:picChg chg="add mod">
          <ac:chgData name="Eugenio Hernandez Contreras" userId="374f78fa-7281-443b-bdfc-66b046773caf" providerId="ADAL" clId="{863909F5-FE08-4870-8738-CC816B3DB792}" dt="2022-11-22T17:07:57.848" v="4511" actId="164"/>
          <ac:picMkLst>
            <pc:docMk/>
            <pc:sldMk cId="3853858438" sldId="2145707169"/>
            <ac:picMk id="23" creationId="{B10049FD-73E8-4305-85B0-A9A3B9AA1447}"/>
          </ac:picMkLst>
        </pc:picChg>
        <pc:picChg chg="add mod">
          <ac:chgData name="Eugenio Hernandez Contreras" userId="374f78fa-7281-443b-bdfc-66b046773caf" providerId="ADAL" clId="{863909F5-FE08-4870-8738-CC816B3DB792}" dt="2022-11-22T16:29:16.556" v="4219" actId="12788"/>
          <ac:picMkLst>
            <pc:docMk/>
            <pc:sldMk cId="3853858438" sldId="2145707169"/>
            <ac:picMk id="27" creationId="{6F8EA03B-1C99-41B4-AFCB-51314BBC70E3}"/>
          </ac:picMkLst>
        </pc:picChg>
        <pc:picChg chg="add del mod">
          <ac:chgData name="Eugenio Hernandez Contreras" userId="374f78fa-7281-443b-bdfc-66b046773caf" providerId="ADAL" clId="{863909F5-FE08-4870-8738-CC816B3DB792}" dt="2022-11-22T16:41:32.054" v="4255" actId="1035"/>
          <ac:picMkLst>
            <pc:docMk/>
            <pc:sldMk cId="3853858438" sldId="2145707169"/>
            <ac:picMk id="31" creationId="{77BA666E-5766-42C1-AC92-1AFC254BF78F}"/>
          </ac:picMkLst>
        </pc:picChg>
        <pc:picChg chg="add mod">
          <ac:chgData name="Eugenio Hernandez Contreras" userId="374f78fa-7281-443b-bdfc-66b046773caf" providerId="ADAL" clId="{863909F5-FE08-4870-8738-CC816B3DB792}" dt="2022-11-22T17:07:14.106" v="4488" actId="164"/>
          <ac:picMkLst>
            <pc:docMk/>
            <pc:sldMk cId="3853858438" sldId="2145707169"/>
            <ac:picMk id="35" creationId="{60121BCB-A673-49FF-B245-34835A60855B}"/>
          </ac:picMkLst>
        </pc:picChg>
        <pc:picChg chg="add del mod ord topLvl">
          <ac:chgData name="Eugenio Hernandez Contreras" userId="374f78fa-7281-443b-bdfc-66b046773caf" providerId="ADAL" clId="{863909F5-FE08-4870-8738-CC816B3DB792}" dt="2022-11-22T17:06:16.401" v="4477" actId="478"/>
          <ac:picMkLst>
            <pc:docMk/>
            <pc:sldMk cId="3853858438" sldId="2145707169"/>
            <ac:picMk id="51" creationId="{E013E12C-FD5D-43CA-B5A7-0A1108E60E61}"/>
          </ac:picMkLst>
        </pc:picChg>
        <pc:picChg chg="add del mod">
          <ac:chgData name="Eugenio Hernandez Contreras" userId="374f78fa-7281-443b-bdfc-66b046773caf" providerId="ADAL" clId="{863909F5-FE08-4870-8738-CC816B3DB792}" dt="2022-11-22T17:38:46.116" v="5317" actId="478"/>
          <ac:picMkLst>
            <pc:docMk/>
            <pc:sldMk cId="3853858438" sldId="2145707169"/>
            <ac:picMk id="85" creationId="{C97EC287-6CFD-4BC6-83CA-7EA168BEBA7C}"/>
          </ac:picMkLst>
        </pc:picChg>
        <pc:picChg chg="add del mod">
          <ac:chgData name="Eugenio Hernandez Contreras" userId="374f78fa-7281-443b-bdfc-66b046773caf" providerId="ADAL" clId="{863909F5-FE08-4870-8738-CC816B3DB792}" dt="2022-11-22T17:38:46.752" v="5318" actId="478"/>
          <ac:picMkLst>
            <pc:docMk/>
            <pc:sldMk cId="3853858438" sldId="2145707169"/>
            <ac:picMk id="86" creationId="{9E67C1E5-A6F9-48FF-8E84-E059972065F9}"/>
          </ac:picMkLst>
        </pc:picChg>
        <pc:picChg chg="add del mod">
          <ac:chgData name="Eugenio Hernandez Contreras" userId="374f78fa-7281-443b-bdfc-66b046773caf" providerId="ADAL" clId="{863909F5-FE08-4870-8738-CC816B3DB792}" dt="2022-11-22T17:38:45.536" v="5316" actId="478"/>
          <ac:picMkLst>
            <pc:docMk/>
            <pc:sldMk cId="3853858438" sldId="2145707169"/>
            <ac:picMk id="87" creationId="{9EE0DE19-12BE-4FCA-A7D6-8B890914441F}"/>
          </ac:picMkLst>
        </pc:picChg>
        <pc:cxnChg chg="add del">
          <ac:chgData name="Eugenio Hernandez Contreras" userId="374f78fa-7281-443b-bdfc-66b046773caf" providerId="ADAL" clId="{863909F5-FE08-4870-8738-CC816B3DB792}" dt="2022-11-22T15:41:51.359" v="3203" actId="478"/>
          <ac:cxnSpMkLst>
            <pc:docMk/>
            <pc:sldMk cId="3853858438" sldId="2145707169"/>
            <ac:cxnSpMk id="11" creationId="{5BEC6BF5-9566-4FF7-973A-1ED47BDA6446}"/>
          </ac:cxnSpMkLst>
        </pc:cxnChg>
        <pc:cxnChg chg="add mod ord">
          <ac:chgData name="Eugenio Hernandez Contreras" userId="374f78fa-7281-443b-bdfc-66b046773caf" providerId="ADAL" clId="{863909F5-FE08-4870-8738-CC816B3DB792}" dt="2022-11-22T16:57:12.166" v="4362" actId="1076"/>
          <ac:cxnSpMkLst>
            <pc:docMk/>
            <pc:sldMk cId="3853858438" sldId="2145707169"/>
            <ac:cxnSpMk id="13" creationId="{A20F8364-366C-4A07-846B-C2D46E3BD490}"/>
          </ac:cxnSpMkLst>
        </pc:cxnChg>
        <pc:cxnChg chg="add del mod">
          <ac:chgData name="Eugenio Hernandez Contreras" userId="374f78fa-7281-443b-bdfc-66b046773caf" providerId="ADAL" clId="{863909F5-FE08-4870-8738-CC816B3DB792}" dt="2022-11-22T16:28:23" v="4210" actId="478"/>
          <ac:cxnSpMkLst>
            <pc:docMk/>
            <pc:sldMk cId="3853858438" sldId="2145707169"/>
            <ac:cxnSpMk id="25" creationId="{B6D8B4CA-A55B-4F1A-9B37-DA9CA5878CAA}"/>
          </ac:cxnSpMkLst>
        </pc:cxnChg>
        <pc:cxnChg chg="add mod ord topLvl">
          <ac:chgData name="Eugenio Hernandez Contreras" userId="374f78fa-7281-443b-bdfc-66b046773caf" providerId="ADAL" clId="{863909F5-FE08-4870-8738-CC816B3DB792}" dt="2022-11-22T17:07:44.448" v="4506" actId="1035"/>
          <ac:cxnSpMkLst>
            <pc:docMk/>
            <pc:sldMk cId="3853858438" sldId="2145707169"/>
            <ac:cxnSpMk id="59" creationId="{8244C2EC-E128-4ACB-A08A-23DDB908081D}"/>
          </ac:cxnSpMkLst>
        </pc:cxnChg>
        <pc:cxnChg chg="add del">
          <ac:chgData name="Eugenio Hernandez Contreras" userId="374f78fa-7281-443b-bdfc-66b046773caf" providerId="ADAL" clId="{863909F5-FE08-4870-8738-CC816B3DB792}" dt="2022-11-22T15:40:18.731" v="3129"/>
          <ac:cxnSpMkLst>
            <pc:docMk/>
            <pc:sldMk cId="3853858438" sldId="2145707169"/>
            <ac:cxnSpMk id="296" creationId="{166B82B4-42AD-41AF-95EC-DD21E65089B7}"/>
          </ac:cxnSpMkLst>
        </pc:cxnChg>
        <pc:cxnChg chg="add del">
          <ac:chgData name="Eugenio Hernandez Contreras" userId="374f78fa-7281-443b-bdfc-66b046773caf" providerId="ADAL" clId="{863909F5-FE08-4870-8738-CC816B3DB792}" dt="2022-11-22T15:40:18.721" v="3113"/>
          <ac:cxnSpMkLst>
            <pc:docMk/>
            <pc:sldMk cId="3853858438" sldId="2145707169"/>
            <ac:cxnSpMk id="324" creationId="{D44761CA-57C0-4C7B-B4BF-AC873B86C6DC}"/>
          </ac:cxnSpMkLst>
        </pc:cxnChg>
      </pc:sldChg>
      <pc:sldChg chg="delSp add del mod">
        <pc:chgData name="Eugenio Hernandez Contreras" userId="374f78fa-7281-443b-bdfc-66b046773caf" providerId="ADAL" clId="{863909F5-FE08-4870-8738-CC816B3DB792}" dt="2022-11-23T15:16:38.887" v="5875" actId="47"/>
        <pc:sldMkLst>
          <pc:docMk/>
          <pc:sldMk cId="3447300258" sldId="2145707170"/>
        </pc:sldMkLst>
        <pc:picChg chg="del">
          <ac:chgData name="Eugenio Hernandez Contreras" userId="374f78fa-7281-443b-bdfc-66b046773caf" providerId="ADAL" clId="{863909F5-FE08-4870-8738-CC816B3DB792}" dt="2022-11-23T15:15:01.972" v="5874" actId="478"/>
          <ac:picMkLst>
            <pc:docMk/>
            <pc:sldMk cId="3447300258" sldId="2145707170"/>
            <ac:picMk id="9" creationId="{CCD0BA52-AB86-425E-94AD-A48D7DEEE61A}"/>
          </ac:picMkLst>
        </pc:picChg>
      </pc:sldChg>
    </pc:docChg>
  </pc:docChgLst>
  <pc:docChgLst>
    <pc:chgData name="Eugenio Hernandez Contreras" userId="374f78fa-7281-443b-bdfc-66b046773caf" providerId="ADAL" clId="{6FC40F02-DA3F-4DC4-9A8B-0F7016701D10}"/>
    <pc:docChg chg="modSld">
      <pc:chgData name="Eugenio Hernandez Contreras" userId="374f78fa-7281-443b-bdfc-66b046773caf" providerId="ADAL" clId="{6FC40F02-DA3F-4DC4-9A8B-0F7016701D10}" dt="2022-11-22T09:29:10.977" v="1" actId="1076"/>
      <pc:docMkLst>
        <pc:docMk/>
      </pc:docMkLst>
      <pc:sldChg chg="modSp">
        <pc:chgData name="Eugenio Hernandez Contreras" userId="374f78fa-7281-443b-bdfc-66b046773caf" providerId="ADAL" clId="{6FC40F02-DA3F-4DC4-9A8B-0F7016701D10}" dt="2022-11-22T09:29:10.977" v="1" actId="1076"/>
        <pc:sldMkLst>
          <pc:docMk/>
          <pc:sldMk cId="30000760" sldId="2145707163"/>
        </pc:sldMkLst>
        <pc:spChg chg="mod">
          <ac:chgData name="Eugenio Hernandez Contreras" userId="374f78fa-7281-443b-bdfc-66b046773caf" providerId="ADAL" clId="{6FC40F02-DA3F-4DC4-9A8B-0F7016701D10}" dt="2022-11-22T09:29:10.977" v="1" actId="1076"/>
          <ac:spMkLst>
            <pc:docMk/>
            <pc:sldMk cId="30000760" sldId="2145707163"/>
            <ac:spMk id="20" creationId="{45301D58-F232-4D55-BBE6-84BE4A5D808D}"/>
          </ac:spMkLst>
        </pc:spChg>
        <pc:spChg chg="mod">
          <ac:chgData name="Eugenio Hernandez Contreras" userId="374f78fa-7281-443b-bdfc-66b046773caf" providerId="ADAL" clId="{6FC40F02-DA3F-4DC4-9A8B-0F7016701D10}" dt="2022-11-22T09:29:10.977" v="1" actId="1076"/>
          <ac:spMkLst>
            <pc:docMk/>
            <pc:sldMk cId="30000760" sldId="2145707163"/>
            <ac:spMk id="21" creationId="{68509251-D9A0-4879-B03E-143AC8ACE26A}"/>
          </ac:spMkLst>
        </pc:spChg>
        <pc:spChg chg="mod">
          <ac:chgData name="Eugenio Hernandez Contreras" userId="374f78fa-7281-443b-bdfc-66b046773caf" providerId="ADAL" clId="{6FC40F02-DA3F-4DC4-9A8B-0F7016701D10}" dt="2022-11-22T09:29:10.977" v="1" actId="1076"/>
          <ac:spMkLst>
            <pc:docMk/>
            <pc:sldMk cId="30000760" sldId="2145707163"/>
            <ac:spMk id="22" creationId="{F7C23E49-C201-456F-BF79-FF8CD33D0080}"/>
          </ac:spMkLst>
        </pc:spChg>
        <pc:grpChg chg="mod">
          <ac:chgData name="Eugenio Hernandez Contreras" userId="374f78fa-7281-443b-bdfc-66b046773caf" providerId="ADAL" clId="{6FC40F02-DA3F-4DC4-9A8B-0F7016701D10}" dt="2022-11-22T09:29:10.977" v="1" actId="1076"/>
          <ac:grpSpMkLst>
            <pc:docMk/>
            <pc:sldMk cId="30000760" sldId="2145707163"/>
            <ac:grpSpMk id="19" creationId="{E2D30A4D-1303-4F25-B722-5312C7EF84B2}"/>
          </ac:grpSpMkLst>
        </pc:gr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wmf"/><Relationship Id="rId4" Type="http://schemas.openxmlformats.org/officeDocument/2006/relationships/image" Target="../media/image7.emf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8.wmf"/><Relationship Id="rId4" Type="http://schemas.openxmlformats.org/officeDocument/2006/relationships/image" Target="../media/image7.emf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8.wmf"/><Relationship Id="rId4" Type="http://schemas.openxmlformats.org/officeDocument/2006/relationships/image" Target="../media/image7.emf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wmf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wmf"/><Relationship Id="rId4" Type="http://schemas.openxmlformats.org/officeDocument/2006/relationships/image" Target="../media/image7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wmf"/><Relationship Id="rId4" Type="http://schemas.openxmlformats.org/officeDocument/2006/relationships/image" Target="../media/image7.emf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7" y="4435982"/>
            <a:ext cx="431775" cy="432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2026463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B11E788-1757-4B42-93A2-B576096F4A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4364185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F8F15-A00B-4B64-9406-A7680A91C1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E39B78F-DE86-4A64-B909-B0EF465EDF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0DF799-E8CF-4E55-810D-FA7CADF53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6A940-E350-4162-A8E8-60C31668145A}" type="datetimeFigureOut">
              <a:rPr lang="es-ES" smtClean="0"/>
              <a:t>23/11/2022</a:t>
            </a:fld>
            <a:endParaRPr lang="es-E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205D85-8A64-4AAF-A156-856ECBC62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1BC3A0-A667-49C4-86BC-F87FFE31B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00DA9-4933-48FF-A08E-5987AA93F395}" type="slidenum">
              <a:rPr lang="es-ES" smtClean="0"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4727442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7" y="4435982"/>
            <a:ext cx="431775" cy="432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1550601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3270250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708291" y="1618747"/>
            <a:ext cx="3586044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708435" y="2400247"/>
            <a:ext cx="3604144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366834" y="542743"/>
            <a:ext cx="4258491" cy="2589671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366834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580721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794519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2087268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8291" y="1618747"/>
            <a:ext cx="2998765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8435" y="2400247"/>
            <a:ext cx="3013901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366834" y="657044"/>
            <a:ext cx="3639576" cy="2530856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3450361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1662" y="4737006"/>
            <a:ext cx="1765139" cy="134929"/>
          </a:xfrm>
        </p:spPr>
        <p:txBody>
          <a:bodyPr/>
          <a:lstStyle/>
          <a:p>
            <a:fld id="{0A4338CF-A743-4443-AF2B-424E1795109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89760" y="4871935"/>
            <a:ext cx="497041" cy="135000"/>
          </a:xfrm>
        </p:spPr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656480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379DE-9018-456D-8CC1-2A834694F3F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0094814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4617078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558041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853441"/>
            <a:ext cx="5471882" cy="65532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1733551"/>
            <a:ext cx="2683690" cy="288352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1733551"/>
            <a:ext cx="2683690" cy="94106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3177541"/>
            <a:ext cx="2683690" cy="145812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124C4BF-40EF-4423-AC5A-CF0A4BF6331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8589730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51434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20650"/>
            <a:ext cx="6665528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853441"/>
            <a:ext cx="2056091" cy="3763638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853441"/>
            <a:ext cx="2101787" cy="376363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853441"/>
            <a:ext cx="2075369" cy="2097113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0418" y="680813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938A4E0-1DBC-428C-A148-40ABB557ED15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6683901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34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4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C1CF8-5492-4FFB-81A2-5916EDDB12A2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126211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24D5EF2-148A-4FCF-BDEA-D1905419679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604945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B11E788-1757-4B42-93A2-B576096F4A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53443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24D5EF2-148A-4FCF-BDEA-D1905419679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27145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357827" y="1116695"/>
            <a:ext cx="1752878" cy="644129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812" y="1895074"/>
            <a:ext cx="3966934" cy="1350000"/>
          </a:xfrm>
        </p:spPr>
        <p:txBody>
          <a:bodyPr lIns="90000" tIns="46800" rIns="90000" bIns="46800"/>
          <a:lstStyle>
            <a:lvl1pPr marL="0" indent="0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812" y="3474573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812" y="3728581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7598771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88533" y="1545176"/>
            <a:ext cx="3966934" cy="226914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88533" y="4130008"/>
            <a:ext cx="3966934" cy="237629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88533" y="4364038"/>
            <a:ext cx="3966934" cy="23762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3695561" y="734841"/>
            <a:ext cx="1752878" cy="6620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51692688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51435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1934057"/>
            <a:ext cx="3401698" cy="791781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2880288"/>
            <a:ext cx="3401698" cy="791781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C910DC3-B6CD-4AA3-8B83-E9AC73FB058B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7266625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853440"/>
            <a:ext cx="3716193" cy="3200593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7311" y="2859966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7311" y="3041948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5" y="2683563"/>
            <a:ext cx="583915" cy="58421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853441"/>
            <a:ext cx="4096935" cy="28035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226257"/>
            <a:ext cx="4096935" cy="1208666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887BC41-9AE7-42ED-89B0-CC6574409BC6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3349774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71138" y="4853433"/>
            <a:ext cx="892978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8D11B88-F477-479A-A05C-7DFCF1036F2A}" type="datetime6">
              <a:rPr lang="es-ES" smtClean="0"/>
              <a:t>noviembre de 2022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428126" y="4853433"/>
            <a:ext cx="2313370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62675" y="4853433"/>
            <a:ext cx="497041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1986139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F149D-BA36-4624-BC2C-75C38D97E55F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132986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78272-CB13-4A5A-80D9-6A60D008BF6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6604956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0D12D-00B0-4821-8543-7DB311810B4A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5044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357827" y="1116695"/>
            <a:ext cx="1752878" cy="644129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812" y="1895074"/>
            <a:ext cx="3966934" cy="1350000"/>
          </a:xfrm>
        </p:spPr>
        <p:txBody>
          <a:bodyPr lIns="90000" tIns="46800" rIns="90000" bIns="46800"/>
          <a:lstStyle>
            <a:lvl1pPr marL="0" indent="0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812" y="3474573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812" y="3728581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6414902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87E6402-BD9F-467C-A7B2-8EE2C2E8DF7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026580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913DC-8EC0-423D-BC61-590162441F54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3038740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38695-7460-412C-B015-B84954E794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9640587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A248-E2EE-4DAA-91F9-E20AD76FDA6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8660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F52DF-3581-40CA-B719-DADCB8C48D1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21702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87771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A6354-73AF-4FDF-91B3-74323947797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356364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051790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951918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" y="0"/>
            <a:ext cx="9139244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8073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88533" y="1545176"/>
            <a:ext cx="3966934" cy="226914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88533" y="4130008"/>
            <a:ext cx="3966934" cy="237629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88533" y="4364038"/>
            <a:ext cx="3966934" cy="23762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3695561" y="734841"/>
            <a:ext cx="1752878" cy="6620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65046915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538867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1371251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1">
            <a:extLst>
              <a:ext uri="{FF2B5EF4-FFF2-40B4-BE49-F238E27FC236}">
                <a16:creationId xmlns:a16="http://schemas.microsoft.com/office/drawing/2014/main" id="{BEC2289D-73EA-411E-A621-2FFE8FCEEF40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1" y="0"/>
            <a:ext cx="9143809" cy="5143500"/>
          </a:xfrm>
          <a:prstGeom prst="rect">
            <a:avLst/>
          </a:prstGeom>
          <a:noFill/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1468063"/>
            <a:ext cx="4057918" cy="269673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4416552"/>
            <a:ext cx="2833524" cy="464063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751369" y="2137643"/>
            <a:ext cx="3446255" cy="645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751369" y="3329722"/>
            <a:ext cx="3446255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0576" y="4005072"/>
            <a:ext cx="740278" cy="86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79991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9CB8844-82DE-4F39-8BF9-EC381E5C9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0ECB4718-6B01-4C37-9166-85809291EAE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D80C0F9B-E2C8-4051-B26B-E41551454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1138" y="4853433"/>
            <a:ext cx="892978" cy="135000"/>
          </a:xfrm>
        </p:spPr>
        <p:txBody>
          <a:bodyPr/>
          <a:lstStyle/>
          <a:p>
            <a:fld id="{C294C5C6-D334-4ECC-9DEB-A868ACFFEA9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3867A5D-02D5-43AA-BD26-72E3F3C809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8126" y="4853433"/>
            <a:ext cx="2313370" cy="135000"/>
          </a:xfrm>
        </p:spPr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0FA8F1F4-D495-4649-A1A5-F36B4D703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2675" y="4853433"/>
            <a:ext cx="497041" cy="135000"/>
          </a:xfrm>
        </p:spPr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9120677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7" y="4435982"/>
            <a:ext cx="431775" cy="432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3624039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41682506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708291" y="1618747"/>
            <a:ext cx="3586044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708435" y="2400247"/>
            <a:ext cx="3604144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366834" y="542743"/>
            <a:ext cx="4258491" cy="2589671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366834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580721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794519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3371524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8291" y="1618747"/>
            <a:ext cx="2998765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8435" y="2400247"/>
            <a:ext cx="3013901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366834" y="657044"/>
            <a:ext cx="3639576" cy="2530856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12204539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1662" y="4737006"/>
            <a:ext cx="1765139" cy="134929"/>
          </a:xfrm>
        </p:spPr>
        <p:txBody>
          <a:bodyPr/>
          <a:lstStyle/>
          <a:p>
            <a:fld id="{0A4338CF-A743-4443-AF2B-424E1795109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89760" y="4871935"/>
            <a:ext cx="497041" cy="135000"/>
          </a:xfrm>
        </p:spPr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3385423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379DE-9018-456D-8CC1-2A834694F3F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901326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51435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1934057"/>
            <a:ext cx="3401698" cy="791781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2880288"/>
            <a:ext cx="3401698" cy="791781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C910DC3-B6CD-4AA3-8B83-E9AC73FB058B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738670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4617078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558041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853441"/>
            <a:ext cx="5471882" cy="65532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1733551"/>
            <a:ext cx="2683690" cy="288352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1733551"/>
            <a:ext cx="2683690" cy="94106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3177541"/>
            <a:ext cx="2683690" cy="145812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124C4BF-40EF-4423-AC5A-CF0A4BF6331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655468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51434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20650"/>
            <a:ext cx="6665528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853441"/>
            <a:ext cx="2056091" cy="3763638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853441"/>
            <a:ext cx="2101787" cy="376363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853441"/>
            <a:ext cx="2075369" cy="2097113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0418" y="680813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938A4E0-1DBC-428C-A148-40ABB557ED15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539931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34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4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C1CF8-5492-4FFB-81A2-5916EDDB12A2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8006795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B11E788-1757-4B42-93A2-B576096F4A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6653466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24D5EF2-148A-4FCF-BDEA-D1905419679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128895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357827" y="1116695"/>
            <a:ext cx="1752878" cy="644129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812" y="1895074"/>
            <a:ext cx="3966934" cy="1350000"/>
          </a:xfrm>
        </p:spPr>
        <p:txBody>
          <a:bodyPr lIns="90000" tIns="46800" rIns="90000" bIns="46800"/>
          <a:lstStyle>
            <a:lvl1pPr marL="0" indent="0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812" y="3474573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812" y="3728581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4144153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88533" y="1545176"/>
            <a:ext cx="3966934" cy="226914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88533" y="4130008"/>
            <a:ext cx="3966934" cy="237629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88533" y="4364038"/>
            <a:ext cx="3966934" cy="23762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3695561" y="734841"/>
            <a:ext cx="1752878" cy="6620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21131499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51435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1934057"/>
            <a:ext cx="3401698" cy="791781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2880288"/>
            <a:ext cx="3401698" cy="791781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C910DC3-B6CD-4AA3-8B83-E9AC73FB058B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343673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853440"/>
            <a:ext cx="3716193" cy="3200593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7311" y="2859966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7311" y="3041948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5" y="2683563"/>
            <a:ext cx="583915" cy="58421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853441"/>
            <a:ext cx="4096935" cy="28035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226257"/>
            <a:ext cx="4096935" cy="1208666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887BC41-9AE7-42ED-89B0-CC6574409BC6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653143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71138" y="4853433"/>
            <a:ext cx="892978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8D11B88-F477-479A-A05C-7DFCF1036F2A}" type="datetime6">
              <a:rPr lang="es-ES" smtClean="0"/>
              <a:t>noviembre de 2022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428126" y="4853433"/>
            <a:ext cx="2313370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62675" y="4853433"/>
            <a:ext cx="497041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246655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853440"/>
            <a:ext cx="3716193" cy="3200593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7311" y="2859966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7311" y="3041948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5" y="2683563"/>
            <a:ext cx="583915" cy="58421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853441"/>
            <a:ext cx="4096935" cy="28035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226257"/>
            <a:ext cx="4096935" cy="1208666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887BC41-9AE7-42ED-89B0-CC6574409BC6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3288508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F149D-BA36-4624-BC2C-75C38D97E55F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762992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78272-CB13-4A5A-80D9-6A60D008BF6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202939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0D12D-00B0-4821-8543-7DB311810B4A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1063619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87E6402-BD9F-467C-A7B2-8EE2C2E8DF7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520753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913DC-8EC0-423D-BC61-590162441F54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783221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38695-7460-412C-B015-B84954E794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575592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A248-E2EE-4DAA-91F9-E20AD76FDA6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85886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F52DF-3581-40CA-B719-DADCB8C48D1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08147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11636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A6354-73AF-4FDF-91B3-74323947797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357029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71138" y="4853433"/>
            <a:ext cx="892978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8D11B88-F477-479A-A05C-7DFCF1036F2A}" type="datetime6">
              <a:rPr lang="es-ES" smtClean="0"/>
              <a:t>noviembre de 2022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428126" y="4853433"/>
            <a:ext cx="2313370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62675" y="4853433"/>
            <a:ext cx="497041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5833295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391619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141808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" y="0"/>
            <a:ext cx="9139244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697600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592094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1959623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1">
            <a:extLst>
              <a:ext uri="{FF2B5EF4-FFF2-40B4-BE49-F238E27FC236}">
                <a16:creationId xmlns:a16="http://schemas.microsoft.com/office/drawing/2014/main" id="{BEC2289D-73EA-411E-A621-2FFE8FCEEF40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1" y="0"/>
            <a:ext cx="9143809" cy="5143500"/>
          </a:xfrm>
          <a:prstGeom prst="rect">
            <a:avLst/>
          </a:prstGeom>
          <a:noFill/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1468063"/>
            <a:ext cx="4057918" cy="269673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4416552"/>
            <a:ext cx="2833524" cy="464063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751369" y="2137643"/>
            <a:ext cx="3446255" cy="645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751369" y="3329722"/>
            <a:ext cx="3446255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0576" y="4005072"/>
            <a:ext cx="740278" cy="86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03048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9CB8844-82DE-4F39-8BF9-EC381E5C9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0ECB4718-6B01-4C37-9166-85809291EAE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D80C0F9B-E2C8-4051-B26B-E41551454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1138" y="4853433"/>
            <a:ext cx="892978" cy="135000"/>
          </a:xfrm>
        </p:spPr>
        <p:txBody>
          <a:bodyPr/>
          <a:lstStyle/>
          <a:p>
            <a:fld id="{C294C5C6-D334-4ECC-9DEB-A868ACFFEA9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3867A5D-02D5-43AA-BD26-72E3F3C809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8126" y="4853433"/>
            <a:ext cx="2313370" cy="135000"/>
          </a:xfrm>
        </p:spPr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0FA8F1F4-D495-4649-A1A5-F36B4D703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2675" y="4853433"/>
            <a:ext cx="497041" cy="135000"/>
          </a:xfrm>
        </p:spPr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7904471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7" y="4435982"/>
            <a:ext cx="431775" cy="432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824646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2027720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708291" y="1618747"/>
            <a:ext cx="3586044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708435" y="2400247"/>
            <a:ext cx="3604144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366834" y="542743"/>
            <a:ext cx="4258491" cy="2589671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366834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580721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794519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3245814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F149D-BA36-4624-BC2C-75C38D97E55F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7576381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8291" y="1618747"/>
            <a:ext cx="2998765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8435" y="2400247"/>
            <a:ext cx="3013901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366834" y="657044"/>
            <a:ext cx="3639576" cy="2530856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1196110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1662" y="4737006"/>
            <a:ext cx="1765139" cy="134929"/>
          </a:xfrm>
        </p:spPr>
        <p:txBody>
          <a:bodyPr/>
          <a:lstStyle/>
          <a:p>
            <a:r>
              <a:rPr lang="en-IN" dirty="0"/>
              <a:t>202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89760" y="4871935"/>
            <a:ext cx="497041" cy="135000"/>
          </a:xfrm>
        </p:spPr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568482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379DE-9018-456D-8CC1-2A834694F3F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5550407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4617078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558041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853441"/>
            <a:ext cx="5471882" cy="65532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1733551"/>
            <a:ext cx="2683690" cy="288352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1733551"/>
            <a:ext cx="2683690" cy="94106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3177541"/>
            <a:ext cx="2683690" cy="145812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124C4BF-40EF-4423-AC5A-CF0A4BF6331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396980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51434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20650"/>
            <a:ext cx="6665528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853441"/>
            <a:ext cx="2056091" cy="3763638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853441"/>
            <a:ext cx="2101787" cy="376363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853441"/>
            <a:ext cx="2075369" cy="2097113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0418" y="680813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938A4E0-1DBC-428C-A148-40ABB557ED15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069036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34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4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C1CF8-5492-4FFB-81A2-5916EDDB12A2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394236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B11E788-1757-4B42-93A2-B576096F4A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281956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24D5EF2-148A-4FCF-BDEA-D1905419679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675257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357827" y="1116695"/>
            <a:ext cx="1752878" cy="644129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812" y="1895074"/>
            <a:ext cx="3966934" cy="1350000"/>
          </a:xfrm>
        </p:spPr>
        <p:txBody>
          <a:bodyPr lIns="90000" tIns="46800" rIns="90000" bIns="46800"/>
          <a:lstStyle>
            <a:lvl1pPr marL="0" indent="0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812" y="3474573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812" y="3728581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56056285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88533" y="1545176"/>
            <a:ext cx="3966934" cy="226914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88533" y="4130008"/>
            <a:ext cx="3966934" cy="237629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88533" y="4364038"/>
            <a:ext cx="3966934" cy="23762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3695561" y="734841"/>
            <a:ext cx="1752878" cy="6620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1469432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78272-CB13-4A5A-80D9-6A60D008BF6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1618907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51435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1934057"/>
            <a:ext cx="3401698" cy="791781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2880288"/>
            <a:ext cx="3401698" cy="791781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C910DC3-B6CD-4AA3-8B83-E9AC73FB058B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5950511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853440"/>
            <a:ext cx="3716193" cy="3200593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7311" y="2859966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7311" y="3041948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5" y="2683563"/>
            <a:ext cx="583915" cy="58421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853441"/>
            <a:ext cx="4096935" cy="28035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226257"/>
            <a:ext cx="4096935" cy="1208666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887BC41-9AE7-42ED-89B0-CC6574409BC6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5296100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71138" y="4853433"/>
            <a:ext cx="892978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8D11B88-F477-479A-A05C-7DFCF1036F2A}" type="datetime6">
              <a:rPr lang="es-ES" smtClean="0"/>
              <a:t>noviembre de 2022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428126" y="4853433"/>
            <a:ext cx="2313370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62675" y="4853433"/>
            <a:ext cx="497041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6910314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F149D-BA36-4624-BC2C-75C38D97E55F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730323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78272-CB13-4A5A-80D9-6A60D008BF6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4718026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0D12D-00B0-4821-8543-7DB311810B4A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7201941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87E6402-BD9F-467C-A7B2-8EE2C2E8DF7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4062488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913DC-8EC0-423D-BC61-590162441F54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0529776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38695-7460-412C-B015-B84954E794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6964845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A248-E2EE-4DAA-91F9-E20AD76FDA6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843353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0D12D-00B0-4821-8543-7DB311810B4A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2244019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F52DF-3581-40CA-B719-DADCB8C48D1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589076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864271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A6354-73AF-4FDF-91B3-74323947797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174072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234412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228793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" y="0"/>
            <a:ext cx="9139244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861796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799442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134103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1">
            <a:extLst>
              <a:ext uri="{FF2B5EF4-FFF2-40B4-BE49-F238E27FC236}">
                <a16:creationId xmlns:a16="http://schemas.microsoft.com/office/drawing/2014/main" id="{BEC2289D-73EA-411E-A621-2FFE8FCEEF40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1" y="0"/>
            <a:ext cx="9143809" cy="5143500"/>
          </a:xfrm>
          <a:prstGeom prst="rect">
            <a:avLst/>
          </a:prstGeom>
          <a:noFill/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1468063"/>
            <a:ext cx="4057918" cy="269673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4416552"/>
            <a:ext cx="2833524" cy="464063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751369" y="2137643"/>
            <a:ext cx="3446255" cy="645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751369" y="3329722"/>
            <a:ext cx="3446255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0576" y="4005072"/>
            <a:ext cx="740278" cy="86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37192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9CB8844-82DE-4F39-8BF9-EC381E5C9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0ECB4718-6B01-4C37-9166-85809291EAE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D80C0F9B-E2C8-4051-B26B-E41551454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1138" y="4853433"/>
            <a:ext cx="892978" cy="135000"/>
          </a:xfrm>
        </p:spPr>
        <p:txBody>
          <a:bodyPr/>
          <a:lstStyle/>
          <a:p>
            <a:fld id="{C294C5C6-D334-4ECC-9DEB-A868ACFFEA9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3867A5D-02D5-43AA-BD26-72E3F3C809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8126" y="4853433"/>
            <a:ext cx="2313370" cy="135000"/>
          </a:xfrm>
        </p:spPr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0FA8F1F4-D495-4649-A1A5-F36B4D703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2675" y="4853433"/>
            <a:ext cx="497041" cy="135000"/>
          </a:xfrm>
        </p:spPr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85234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1112470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87E6402-BD9F-467C-A7B2-8EE2C2E8DF7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4654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913DC-8EC0-423D-BC61-590162441F54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536082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38695-7460-412C-B015-B84954E794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181689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A248-E2EE-4DAA-91F9-E20AD76FDA6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3092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F52DF-3581-40CA-B719-DADCB8C48D1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19614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4380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A6354-73AF-4FDF-91B3-74323947797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431021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34661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85720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" y="0"/>
            <a:ext cx="9139244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44797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708291" y="1618747"/>
            <a:ext cx="3586044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708435" y="2400247"/>
            <a:ext cx="3604144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366834" y="542743"/>
            <a:ext cx="4258491" cy="2589671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366834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580721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794519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15373666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744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3090128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1">
            <a:extLst>
              <a:ext uri="{FF2B5EF4-FFF2-40B4-BE49-F238E27FC236}">
                <a16:creationId xmlns:a16="http://schemas.microsoft.com/office/drawing/2014/main" id="{BEC2289D-73EA-411E-A621-2FFE8FCEEF40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1" y="0"/>
            <a:ext cx="9143809" cy="5143500"/>
          </a:xfrm>
          <a:prstGeom prst="rect">
            <a:avLst/>
          </a:prstGeom>
          <a:noFill/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1468063"/>
            <a:ext cx="4057918" cy="269673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4416552"/>
            <a:ext cx="2833524" cy="464063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751369" y="2137643"/>
            <a:ext cx="3446255" cy="645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751369" y="3329722"/>
            <a:ext cx="3446255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0576" y="4005072"/>
            <a:ext cx="740278" cy="86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5772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9CB8844-82DE-4F39-8BF9-EC381E5C9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0ECB4718-6B01-4C37-9166-85809291EAE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D80C0F9B-E2C8-4051-B26B-E41551454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1138" y="4853433"/>
            <a:ext cx="892978" cy="135000"/>
          </a:xfrm>
        </p:spPr>
        <p:txBody>
          <a:bodyPr/>
          <a:lstStyle/>
          <a:p>
            <a:fld id="{C294C5C6-D334-4ECC-9DEB-A868ACFFEA9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3867A5D-02D5-43AA-BD26-72E3F3C809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8126" y="4853433"/>
            <a:ext cx="2313370" cy="135000"/>
          </a:xfrm>
        </p:spPr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0FA8F1F4-D495-4649-A1A5-F36B4D703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2675" y="4853433"/>
            <a:ext cx="497041" cy="135000"/>
          </a:xfrm>
        </p:spPr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64703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7" y="4435982"/>
            <a:ext cx="431775" cy="432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308696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1431755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708291" y="1618747"/>
            <a:ext cx="3586044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708435" y="2400247"/>
            <a:ext cx="3604144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366834" y="542743"/>
            <a:ext cx="4258491" cy="2589671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366834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580721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794519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1945832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8291" y="1618747"/>
            <a:ext cx="2998765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8435" y="2400247"/>
            <a:ext cx="3013901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366834" y="657044"/>
            <a:ext cx="3639576" cy="2530856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740291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1662" y="4737006"/>
            <a:ext cx="1765139" cy="134929"/>
          </a:xfrm>
        </p:spPr>
        <p:txBody>
          <a:bodyPr/>
          <a:lstStyle/>
          <a:p>
            <a:r>
              <a:rPr lang="en-IN" dirty="0"/>
              <a:t>202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89760" y="4871935"/>
            <a:ext cx="497041" cy="135000"/>
          </a:xfrm>
        </p:spPr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12709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379DE-9018-456D-8CC1-2A834694F3F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4072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8291" y="1618747"/>
            <a:ext cx="2998765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8435" y="2400247"/>
            <a:ext cx="3013901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366834" y="657044"/>
            <a:ext cx="3639576" cy="2530856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1615862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4617078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558041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853441"/>
            <a:ext cx="5471882" cy="65532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1733551"/>
            <a:ext cx="2683690" cy="288352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1733551"/>
            <a:ext cx="2683690" cy="94106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3177541"/>
            <a:ext cx="2683690" cy="145812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124C4BF-40EF-4423-AC5A-CF0A4BF6331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321602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51434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20650"/>
            <a:ext cx="6665528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853441"/>
            <a:ext cx="2056091" cy="3763638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853441"/>
            <a:ext cx="2101787" cy="376363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853441"/>
            <a:ext cx="2075369" cy="2097113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0418" y="680813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938A4E0-1DBC-428C-A148-40ABB557ED15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721963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34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4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C1CF8-5492-4FFB-81A2-5916EDDB12A2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54610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B11E788-1757-4B42-93A2-B576096F4A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263828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24D5EF2-148A-4FCF-BDEA-D1905419679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848267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357827" y="1116695"/>
            <a:ext cx="1752878" cy="644129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812" y="1895074"/>
            <a:ext cx="3966934" cy="1350000"/>
          </a:xfrm>
        </p:spPr>
        <p:txBody>
          <a:bodyPr lIns="90000" tIns="46800" rIns="90000" bIns="46800"/>
          <a:lstStyle>
            <a:lvl1pPr marL="0" indent="0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812" y="3474573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812" y="3728581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174760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88533" y="1545176"/>
            <a:ext cx="3966934" cy="226914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88533" y="4130008"/>
            <a:ext cx="3966934" cy="237629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88533" y="4364038"/>
            <a:ext cx="3966934" cy="23762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3695561" y="734841"/>
            <a:ext cx="1752878" cy="6620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6812400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51435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1934057"/>
            <a:ext cx="3401698" cy="791781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2880288"/>
            <a:ext cx="3401698" cy="791781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C910DC3-B6CD-4AA3-8B83-E9AC73FB058B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431877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853440"/>
            <a:ext cx="3716193" cy="3200593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7311" y="2859966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7311" y="3041948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5" y="2683563"/>
            <a:ext cx="583915" cy="58421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853441"/>
            <a:ext cx="4096935" cy="28035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226257"/>
            <a:ext cx="4096935" cy="1208666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887BC41-9AE7-42ED-89B0-CC6574409BC6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721364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71138" y="4853433"/>
            <a:ext cx="892978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8D11B88-F477-479A-A05C-7DFCF1036F2A}" type="datetime6">
              <a:rPr lang="es-ES" smtClean="0"/>
              <a:t>noviembre de 2022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428126" y="4853433"/>
            <a:ext cx="2313370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62675" y="4853433"/>
            <a:ext cx="497041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1603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1662" y="4737006"/>
            <a:ext cx="1765139" cy="134929"/>
          </a:xfrm>
        </p:spPr>
        <p:txBody>
          <a:bodyPr/>
          <a:lstStyle/>
          <a:p>
            <a:fld id="{0A4338CF-A743-4443-AF2B-424E1795109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89760" y="4871935"/>
            <a:ext cx="497041" cy="135000"/>
          </a:xfrm>
        </p:spPr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701907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F149D-BA36-4624-BC2C-75C38D97E55F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804435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78272-CB13-4A5A-80D9-6A60D008BF6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032346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0D12D-00B0-4821-8543-7DB311810B4A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089814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87E6402-BD9F-467C-A7B2-8EE2C2E8DF7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562304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913DC-8EC0-423D-BC61-590162441F54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97146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38695-7460-412C-B015-B84954E794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6715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A248-E2EE-4DAA-91F9-E20AD76FDA6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055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F52DF-3581-40CA-B719-DADCB8C48D1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6752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0864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A6354-73AF-4FDF-91B3-74323947797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800413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379DE-9018-456D-8CC1-2A834694F3F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51411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439333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41129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" y="0"/>
            <a:ext cx="9139244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55904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396296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2852841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1">
            <a:extLst>
              <a:ext uri="{FF2B5EF4-FFF2-40B4-BE49-F238E27FC236}">
                <a16:creationId xmlns:a16="http://schemas.microsoft.com/office/drawing/2014/main" id="{BEC2289D-73EA-411E-A621-2FFE8FCEEF40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1" y="0"/>
            <a:ext cx="9143809" cy="5143500"/>
          </a:xfrm>
          <a:prstGeom prst="rect">
            <a:avLst/>
          </a:prstGeom>
          <a:noFill/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1468063"/>
            <a:ext cx="4057918" cy="269673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4416552"/>
            <a:ext cx="2833524" cy="464063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751369" y="2137643"/>
            <a:ext cx="3446255" cy="645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751369" y="3329722"/>
            <a:ext cx="3446255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0576" y="4005072"/>
            <a:ext cx="740278" cy="86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1186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9CB8844-82DE-4F39-8BF9-EC381E5C9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0ECB4718-6B01-4C37-9166-85809291EAE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D80C0F9B-E2C8-4051-B26B-E41551454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1138" y="4853433"/>
            <a:ext cx="892978" cy="135000"/>
          </a:xfrm>
        </p:spPr>
        <p:txBody>
          <a:bodyPr/>
          <a:lstStyle/>
          <a:p>
            <a:fld id="{C294C5C6-D334-4ECC-9DEB-A868ACFFEA9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3867A5D-02D5-43AA-BD26-72E3F3C809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8126" y="4853433"/>
            <a:ext cx="2313370" cy="135000"/>
          </a:xfrm>
        </p:spPr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0FA8F1F4-D495-4649-A1A5-F36B4D703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2675" y="4853433"/>
            <a:ext cx="497041" cy="135000"/>
          </a:xfrm>
        </p:spPr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1689631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936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936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6307" y="4435982"/>
            <a:ext cx="431775" cy="432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2454776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999368" y="4281795"/>
            <a:ext cx="6088405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346308" y="4203900"/>
            <a:ext cx="783397" cy="1481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308" y="4514392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308" y="4662605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2583328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708291" y="1618747"/>
            <a:ext cx="3586044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708435" y="2400247"/>
            <a:ext cx="3604144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366834" y="542743"/>
            <a:ext cx="4258491" cy="2589671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366834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580721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794519" y="3016317"/>
            <a:ext cx="113676" cy="113735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4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570637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4617078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558041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853441"/>
            <a:ext cx="5471882" cy="65532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1733551"/>
            <a:ext cx="2683690" cy="288352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1733551"/>
            <a:ext cx="2683690" cy="94106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3177541"/>
            <a:ext cx="2683690" cy="145812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124C4BF-40EF-4423-AC5A-CF0A4BF6331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39047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373392" y="4369960"/>
            <a:ext cx="2907003" cy="427646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8291" y="1618747"/>
            <a:ext cx="2998765" cy="645300"/>
          </a:xfrm>
          <a:prstGeom prst="rect">
            <a:avLst/>
          </a:prstGeo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8435" y="2400247"/>
            <a:ext cx="3013901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366834" y="657044"/>
            <a:ext cx="3639576" cy="2530856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04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938319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1662" y="4737006"/>
            <a:ext cx="1765139" cy="134929"/>
          </a:xfrm>
        </p:spPr>
        <p:txBody>
          <a:bodyPr/>
          <a:lstStyle/>
          <a:p>
            <a:fld id="{0A4338CF-A743-4443-AF2B-424E1795109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89760" y="4871935"/>
            <a:ext cx="497041" cy="135000"/>
          </a:xfrm>
        </p:spPr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538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379DE-9018-456D-8CC1-2A834694F3F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932768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6139" y="1"/>
            <a:ext cx="2997862" cy="4617078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5580410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853441"/>
            <a:ext cx="5471882" cy="65532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1" y="1733551"/>
            <a:ext cx="2683690" cy="288352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2" y="1733551"/>
            <a:ext cx="2683690" cy="94106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2" y="3177541"/>
            <a:ext cx="2683690" cy="145812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57898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124C4BF-40EF-4423-AC5A-CF0A4BF6331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357110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51434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20650"/>
            <a:ext cx="6665528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853441"/>
            <a:ext cx="2056091" cy="3763638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853441"/>
            <a:ext cx="2101787" cy="376363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853441"/>
            <a:ext cx="2075369" cy="2097113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0418" y="680813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938A4E0-1DBC-428C-A148-40ABB557ED15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3793413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34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4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C1CF8-5492-4FFB-81A2-5916EDDB12A2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75465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B11E788-1757-4B42-93A2-B576096F4A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411259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3" y="2138641"/>
            <a:ext cx="3334113" cy="90173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24D5EF2-148A-4FCF-BDEA-D1905419679C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0086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357827" y="1116695"/>
            <a:ext cx="1752878" cy="644129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812" y="1895074"/>
            <a:ext cx="3966934" cy="1350000"/>
          </a:xfrm>
        </p:spPr>
        <p:txBody>
          <a:bodyPr lIns="90000" tIns="46800" rIns="90000" bIns="46800"/>
          <a:lstStyle>
            <a:lvl1pPr marL="0" indent="0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812" y="3474573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812" y="3728581"/>
            <a:ext cx="3966934" cy="237629"/>
          </a:xfrm>
        </p:spPr>
        <p:txBody>
          <a:bodyPr lIns="90000" tIns="46800" rIns="90000" bIns="46800"/>
          <a:lstStyle>
            <a:lvl1pPr marL="0" indent="0" algn="l" defTabSz="685434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1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267319" indent="0">
              <a:buNone/>
              <a:defRPr lang="en-US" sz="1499" smtClean="0">
                <a:latin typeface="+mn-lt"/>
              </a:defRPr>
            </a:lvl2pPr>
            <a:lvl3pPr>
              <a:defRPr lang="en-US" sz="1349" smtClean="0">
                <a:latin typeface="+mn-lt"/>
              </a:defRPr>
            </a:lvl3pPr>
            <a:lvl4pPr>
              <a:defRPr lang="en-US" sz="1199" smtClean="0">
                <a:latin typeface="+mn-lt"/>
              </a:defRPr>
            </a:lvl4pPr>
            <a:lvl5pPr>
              <a:defRPr lang="en-IN" sz="11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241117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88533" y="1545176"/>
            <a:ext cx="3966934" cy="226914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099" dirty="0" smtClean="0">
                <a:latin typeface="Georgia" panose="02040502050405020303" pitchFamily="18" charset="0"/>
              </a:defRPr>
            </a:lvl1pPr>
          </a:lstStyle>
          <a:p>
            <a:pPr marL="267319" lvl="0" indent="-267319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88533" y="4130008"/>
            <a:ext cx="3966934" cy="237629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88533" y="4364038"/>
            <a:ext cx="3966934" cy="23762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1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267319" lvl="0" indent="-267319" algn="ctr">
              <a:spcBef>
                <a:spcPts val="0"/>
              </a:spcBef>
              <a:spcAft>
                <a:spcPts val="45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3695561" y="734841"/>
            <a:ext cx="1752878" cy="6620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8396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305125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787414" cy="51434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0418" y="220650"/>
            <a:ext cx="6665528" cy="4428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17" y="853441"/>
            <a:ext cx="2056091" cy="3763638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6" y="853441"/>
            <a:ext cx="2101787" cy="3763638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6611431" y="853441"/>
            <a:ext cx="2075369" cy="2097113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0418" y="680813"/>
            <a:ext cx="666552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938A4E0-1DBC-428C-A148-40ABB557ED15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0551322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4" y="0"/>
            <a:ext cx="4476046" cy="51435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5" y="1934057"/>
            <a:ext cx="3401698" cy="791781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5" y="2880288"/>
            <a:ext cx="3401698" cy="791781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C910DC3-B6CD-4AA3-8B83-E9AC73FB058B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645519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0" y="853440"/>
            <a:ext cx="3716193" cy="3200593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7311" y="2859966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7311" y="3041948"/>
            <a:ext cx="2315750" cy="135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5" y="2683563"/>
            <a:ext cx="583915" cy="58421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6" y="853441"/>
            <a:ext cx="4096935" cy="28035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6" y="1226257"/>
            <a:ext cx="4096935" cy="1208666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887BC41-9AE7-42ED-89B0-CC6574409BC6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059785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71138" y="4853433"/>
            <a:ext cx="892978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8D11B88-F477-479A-A05C-7DFCF1036F2A}" type="datetime6">
              <a:rPr lang="es-ES" smtClean="0"/>
              <a:t>noviembre de 2022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428126" y="4853433"/>
            <a:ext cx="2313370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62675" y="4853433"/>
            <a:ext cx="497041" cy="13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527321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F149D-BA36-4624-BC2C-75C38D97E55F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4047857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78272-CB13-4A5A-80D9-6A60D008BF6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6326664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853439"/>
            <a:ext cx="4038600" cy="36261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0D12D-00B0-4821-8543-7DB311810B4A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5677240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402081"/>
            <a:ext cx="4042800" cy="3192056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853440"/>
            <a:ext cx="4042800" cy="4806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87E6402-BD9F-467C-A7B2-8EE2C2E8DF7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7127086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913DC-8EC0-423D-BC61-590162441F54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735474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38695-7460-412C-B015-B84954E79401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179284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A248-E2EE-4DAA-91F9-E20AD76FDA6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295070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853440"/>
            <a:ext cx="6175841" cy="36261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34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4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C1CF8-5492-4FFB-81A2-5916EDDB12A2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958535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F52DF-3581-40CA-B719-DADCB8C48D1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42676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425744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A6354-73AF-4FDF-91B3-743239477977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838207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92533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" y="0"/>
            <a:ext cx="9139240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11584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" y="0"/>
            <a:ext cx="9139244" cy="51435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539354"/>
            <a:ext cx="3506400" cy="3907547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82823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733027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373392" y="596747"/>
            <a:ext cx="3695884" cy="268611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4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81325" y="1465666"/>
            <a:ext cx="3245009" cy="734777"/>
          </a:xfrm>
        </p:spPr>
        <p:txBody>
          <a:bodyPr/>
          <a:lstStyle>
            <a:lvl1pPr>
              <a:defRPr sz="224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581325" y="2284619"/>
            <a:ext cx="3245009" cy="784742"/>
          </a:xfrm>
        </p:spPr>
        <p:txBody>
          <a:bodyPr/>
          <a:lstStyle>
            <a:lvl1pPr marL="0" indent="0" algn="l">
              <a:spcAft>
                <a:spcPts val="900"/>
              </a:spcAft>
              <a:buNone/>
              <a:defRPr sz="14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 b="1">
                <a:solidFill>
                  <a:srgbClr val="404040"/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9544" y="3720704"/>
            <a:ext cx="918684" cy="1076325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</p:spTree>
    <p:extLst>
      <p:ext uri="{BB962C8B-B14F-4D97-AF65-F5344CB8AC3E}">
        <p14:creationId xmlns:p14="http://schemas.microsoft.com/office/powerpoint/2010/main" val="3032896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1">
            <a:extLst>
              <a:ext uri="{FF2B5EF4-FFF2-40B4-BE49-F238E27FC236}">
                <a16:creationId xmlns:a16="http://schemas.microsoft.com/office/drawing/2014/main" id="{BEC2289D-73EA-411E-A621-2FFE8FCEEF40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1" y="0"/>
            <a:ext cx="9143809" cy="5143500"/>
          </a:xfrm>
          <a:prstGeom prst="rect">
            <a:avLst/>
          </a:prstGeom>
          <a:noFill/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1468063"/>
            <a:ext cx="4057918" cy="269673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38" y="4416552"/>
            <a:ext cx="2833524" cy="464063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751369" y="2137643"/>
            <a:ext cx="3446255" cy="645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751369" y="3329722"/>
            <a:ext cx="3446255" cy="48430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99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1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0576" y="4005072"/>
            <a:ext cx="740278" cy="86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63436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9CB8844-82DE-4F39-8BF9-EC381E5C9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0ECB4718-6B01-4C37-9166-85809291EAE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0" y="680813"/>
            <a:ext cx="82307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D80C0F9B-E2C8-4051-B26B-E41551454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1138" y="4853433"/>
            <a:ext cx="892978" cy="135000"/>
          </a:xfrm>
        </p:spPr>
        <p:txBody>
          <a:bodyPr/>
          <a:lstStyle/>
          <a:p>
            <a:fld id="{C294C5C6-D334-4ECC-9DEB-A868ACFFEA9D}" type="datetime6">
              <a:rPr lang="es-ES" smtClean="0"/>
              <a:t>noviembre de 2022</a:t>
            </a:fld>
            <a:endParaRPr lang="en-IN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3867A5D-02D5-43AA-BD26-72E3F3C809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8126" y="4853433"/>
            <a:ext cx="2313370" cy="135000"/>
          </a:xfrm>
        </p:spPr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0FA8F1F4-D495-4649-A1A5-F36B4D703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2675" y="4853433"/>
            <a:ext cx="497041" cy="135000"/>
          </a:xfrm>
        </p:spPr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78667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66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oleObject" Target="../embeddings/oleObject2.bin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slideLayout" Target="../slideLayouts/slideLayout6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5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oleObject" Target="../embeddings/oleObject3.bin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97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slideLayout" Target="../slideLayouts/slideLayout132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36" Type="http://schemas.openxmlformats.org/officeDocument/2006/relationships/oleObject" Target="../embeddings/oleObject4.bin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slideLayout" Target="../slideLayouts/slideLayout130.xml"/><Relationship Id="rId35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26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54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5" Type="http://schemas.openxmlformats.org/officeDocument/2006/relationships/slideLayout" Target="../slideLayouts/slideLayout158.xml"/><Relationship Id="rId33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53.xml"/><Relationship Id="rId29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slideLayout" Target="../slideLayouts/slideLayout157.xml"/><Relationship Id="rId32" Type="http://schemas.openxmlformats.org/officeDocument/2006/relationships/slideLayout" Target="../slideLayouts/slideLayout165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slideLayout" Target="../slideLayouts/slideLayout156.xml"/><Relationship Id="rId28" Type="http://schemas.openxmlformats.org/officeDocument/2006/relationships/slideLayout" Target="../slideLayouts/slideLayout161.xml"/><Relationship Id="rId36" Type="http://schemas.openxmlformats.org/officeDocument/2006/relationships/oleObject" Target="../embeddings/oleObject5.bin"/><Relationship Id="rId10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52.xml"/><Relationship Id="rId31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slideLayout" Target="../slideLayouts/slideLayout155.xml"/><Relationship Id="rId27" Type="http://schemas.openxmlformats.org/officeDocument/2006/relationships/slideLayout" Target="../slideLayouts/slideLayout160.xml"/><Relationship Id="rId30" Type="http://schemas.openxmlformats.org/officeDocument/2006/relationships/slideLayout" Target="../slideLayouts/slideLayout163.xml"/><Relationship Id="rId35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26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69.xml"/><Relationship Id="rId21" Type="http://schemas.openxmlformats.org/officeDocument/2006/relationships/slideLayout" Target="../slideLayouts/slideLayout187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5" Type="http://schemas.openxmlformats.org/officeDocument/2006/relationships/slideLayout" Target="../slideLayouts/slideLayout191.xml"/><Relationship Id="rId33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slideLayout" Target="../slideLayouts/slideLayout186.xml"/><Relationship Id="rId29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24" Type="http://schemas.openxmlformats.org/officeDocument/2006/relationships/slideLayout" Target="../slideLayouts/slideLayout190.xml"/><Relationship Id="rId32" Type="http://schemas.openxmlformats.org/officeDocument/2006/relationships/slideLayout" Target="../slideLayouts/slideLayout198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23" Type="http://schemas.openxmlformats.org/officeDocument/2006/relationships/slideLayout" Target="../slideLayouts/slideLayout189.xml"/><Relationship Id="rId28" Type="http://schemas.openxmlformats.org/officeDocument/2006/relationships/slideLayout" Target="../slideLayouts/slideLayout194.xml"/><Relationship Id="rId36" Type="http://schemas.openxmlformats.org/officeDocument/2006/relationships/oleObject" Target="../embeddings/oleObject6.bin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31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Relationship Id="rId22" Type="http://schemas.openxmlformats.org/officeDocument/2006/relationships/slideLayout" Target="../slideLayouts/slideLayout188.xml"/><Relationship Id="rId27" Type="http://schemas.openxmlformats.org/officeDocument/2006/relationships/slideLayout" Target="../slideLayouts/slideLayout193.xml"/><Relationship Id="rId30" Type="http://schemas.openxmlformats.org/officeDocument/2006/relationships/slideLayout" Target="../slideLayouts/slideLayout196.xml"/><Relationship Id="rId35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912832F-ED8D-42E3-9DD0-03D2FFDEDB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587094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6" progId="TCLayout.ActiveDocument.1">
                  <p:embed/>
                </p:oleObj>
              </mc:Choice>
              <mc:Fallback>
                <p:oleObj name="think-cell Slide" r:id="rId36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912832F-ED8D-42E3-9DD0-03D2FFDED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7201" y="4767262"/>
            <a:ext cx="227291" cy="233363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09382" y="4767262"/>
            <a:ext cx="1376227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72B4ED32-288A-4939-B8DE-12607CAB14BB}" type="datetime6">
              <a:rPr lang="es-ES" smtClean="0"/>
              <a:pPr/>
              <a:t>noviembre de 2022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8126" y="4853433"/>
            <a:ext cx="2313370" cy="135000"/>
          </a:xfrm>
          <a:prstGeom prst="rect">
            <a:avLst/>
          </a:prstGeom>
        </p:spPr>
        <p:txBody>
          <a:bodyPr/>
          <a:lstStyle>
            <a:lvl1pPr marL="0" algn="l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88568" y="4865625"/>
            <a:ext cx="497041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GB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1848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  <p:sldLayoutId id="2147483891" r:id="rId13"/>
    <p:sldLayoutId id="2147483892" r:id="rId14"/>
    <p:sldLayoutId id="2147483893" r:id="rId15"/>
    <p:sldLayoutId id="2147483894" r:id="rId16"/>
    <p:sldLayoutId id="2147483895" r:id="rId17"/>
    <p:sldLayoutId id="2147483896" r:id="rId18"/>
    <p:sldLayoutId id="2147483897" r:id="rId19"/>
    <p:sldLayoutId id="2147483898" r:id="rId20"/>
    <p:sldLayoutId id="2147483899" r:id="rId21"/>
    <p:sldLayoutId id="2147483900" r:id="rId22"/>
    <p:sldLayoutId id="2147483901" r:id="rId23"/>
    <p:sldLayoutId id="2147483902" r:id="rId24"/>
    <p:sldLayoutId id="2147483903" r:id="rId25"/>
    <p:sldLayoutId id="2147483904" r:id="rId26"/>
    <p:sldLayoutId id="2147483905" r:id="rId27"/>
    <p:sldLayoutId id="2147483906" r:id="rId28"/>
    <p:sldLayoutId id="2147483907" r:id="rId29"/>
    <p:sldLayoutId id="2147483908" r:id="rId30"/>
    <p:sldLayoutId id="2147483909" r:id="rId31"/>
    <p:sldLayoutId id="2147483910" r:id="rId32"/>
    <p:sldLayoutId id="2147483911" r:id="rId33"/>
  </p:sldLayoutIdLst>
  <p:hf hdr="0" ft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17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9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2DF58F-2D2C-4FCB-BFEB-74E2EB7E50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273816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6" progId="TCLayout.ActiveDocument.1">
                  <p:embed/>
                </p:oleObj>
              </mc:Choice>
              <mc:Fallback>
                <p:oleObj name="think-cell Slide" r:id="rId36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2DF58F-2D2C-4FCB-BFEB-74E2EB7E5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7201" y="4767262"/>
            <a:ext cx="227291" cy="233363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09382" y="4767262"/>
            <a:ext cx="1376227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72B4ED32-288A-4939-B8DE-12607CAB14BB}" type="datetime6">
              <a:rPr lang="es-ES" smtClean="0"/>
              <a:pPr/>
              <a:t>noviembre de 2022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8126" y="4853433"/>
            <a:ext cx="2313370" cy="135000"/>
          </a:xfrm>
          <a:prstGeom prst="rect">
            <a:avLst/>
          </a:prstGeom>
        </p:spPr>
        <p:txBody>
          <a:bodyPr/>
          <a:lstStyle>
            <a:lvl1pPr marL="0" algn="l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88568" y="4865625"/>
            <a:ext cx="497041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GB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9956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9" r:id="rId1"/>
    <p:sldLayoutId id="2147484430" r:id="rId2"/>
    <p:sldLayoutId id="2147484431" r:id="rId3"/>
    <p:sldLayoutId id="2147484432" r:id="rId4"/>
    <p:sldLayoutId id="2147484433" r:id="rId5"/>
    <p:sldLayoutId id="2147484434" r:id="rId6"/>
    <p:sldLayoutId id="2147484435" r:id="rId7"/>
    <p:sldLayoutId id="2147484436" r:id="rId8"/>
    <p:sldLayoutId id="2147484437" r:id="rId9"/>
    <p:sldLayoutId id="2147484438" r:id="rId10"/>
    <p:sldLayoutId id="2147484439" r:id="rId11"/>
    <p:sldLayoutId id="2147484440" r:id="rId12"/>
    <p:sldLayoutId id="2147484441" r:id="rId13"/>
    <p:sldLayoutId id="2147484442" r:id="rId14"/>
    <p:sldLayoutId id="2147484443" r:id="rId15"/>
    <p:sldLayoutId id="2147484444" r:id="rId16"/>
    <p:sldLayoutId id="2147484445" r:id="rId17"/>
    <p:sldLayoutId id="2147484446" r:id="rId18"/>
    <p:sldLayoutId id="2147484447" r:id="rId19"/>
    <p:sldLayoutId id="2147484448" r:id="rId20"/>
    <p:sldLayoutId id="2147484449" r:id="rId21"/>
    <p:sldLayoutId id="2147484450" r:id="rId22"/>
    <p:sldLayoutId id="2147484451" r:id="rId23"/>
    <p:sldLayoutId id="2147484452" r:id="rId24"/>
    <p:sldLayoutId id="2147484453" r:id="rId25"/>
    <p:sldLayoutId id="2147484454" r:id="rId26"/>
    <p:sldLayoutId id="2147484455" r:id="rId27"/>
    <p:sldLayoutId id="2147484456" r:id="rId28"/>
    <p:sldLayoutId id="2147484457" r:id="rId29"/>
    <p:sldLayoutId id="2147484458" r:id="rId30"/>
    <p:sldLayoutId id="2147484459" r:id="rId31"/>
    <p:sldLayoutId id="2147484460" r:id="rId32"/>
    <p:sldLayoutId id="2147484461" r:id="rId33"/>
  </p:sldLayoutIdLst>
  <p:hf hdr="0" ft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17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9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09210DD-D65D-4DDD-878D-1AA9BD62EA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52743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95" imgH="396" progId="TCLayout.ActiveDocument.1">
                  <p:embed/>
                </p:oleObj>
              </mc:Choice>
              <mc:Fallback>
                <p:oleObj name="think-cell Slide" r:id="rId37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09210DD-D65D-4DDD-878D-1AA9BD62EA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7201" y="4767262"/>
            <a:ext cx="227291" cy="233363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09382" y="4767262"/>
            <a:ext cx="1376227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72B4ED32-288A-4939-B8DE-12607CAB14BB}" type="datetime6">
              <a:rPr lang="es-ES" smtClean="0"/>
              <a:pPr/>
              <a:t>noviembre de 2022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8126" y="4853433"/>
            <a:ext cx="2313370" cy="135000"/>
          </a:xfrm>
          <a:prstGeom prst="rect">
            <a:avLst/>
          </a:prstGeom>
        </p:spPr>
        <p:txBody>
          <a:bodyPr/>
          <a:lstStyle>
            <a:lvl1pPr marL="0" algn="l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88568" y="4865625"/>
            <a:ext cx="497041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GB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4897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3" r:id="rId1"/>
    <p:sldLayoutId id="2147484464" r:id="rId2"/>
    <p:sldLayoutId id="2147484465" r:id="rId3"/>
    <p:sldLayoutId id="2147484466" r:id="rId4"/>
    <p:sldLayoutId id="2147484467" r:id="rId5"/>
    <p:sldLayoutId id="2147484468" r:id="rId6"/>
    <p:sldLayoutId id="2147484469" r:id="rId7"/>
    <p:sldLayoutId id="2147484470" r:id="rId8"/>
    <p:sldLayoutId id="2147484471" r:id="rId9"/>
    <p:sldLayoutId id="2147484472" r:id="rId10"/>
    <p:sldLayoutId id="2147484473" r:id="rId11"/>
    <p:sldLayoutId id="2147484474" r:id="rId12"/>
    <p:sldLayoutId id="2147484475" r:id="rId13"/>
    <p:sldLayoutId id="2147484476" r:id="rId14"/>
    <p:sldLayoutId id="2147484477" r:id="rId15"/>
    <p:sldLayoutId id="2147484478" r:id="rId16"/>
    <p:sldLayoutId id="2147484479" r:id="rId17"/>
    <p:sldLayoutId id="2147484480" r:id="rId18"/>
    <p:sldLayoutId id="2147484481" r:id="rId19"/>
    <p:sldLayoutId id="2147484482" r:id="rId20"/>
    <p:sldLayoutId id="2147484483" r:id="rId21"/>
    <p:sldLayoutId id="2147484484" r:id="rId22"/>
    <p:sldLayoutId id="2147484485" r:id="rId23"/>
    <p:sldLayoutId id="2147484486" r:id="rId24"/>
    <p:sldLayoutId id="2147484487" r:id="rId25"/>
    <p:sldLayoutId id="2147484488" r:id="rId26"/>
    <p:sldLayoutId id="2147484489" r:id="rId27"/>
    <p:sldLayoutId id="2147484490" r:id="rId28"/>
    <p:sldLayoutId id="2147484491" r:id="rId29"/>
    <p:sldLayoutId id="2147484492" r:id="rId30"/>
    <p:sldLayoutId id="2147484493" r:id="rId31"/>
    <p:sldLayoutId id="2147484494" r:id="rId32"/>
    <p:sldLayoutId id="2147484495" r:id="rId33"/>
    <p:sldLayoutId id="2147484496" r:id="rId34"/>
  </p:sldLayoutIdLst>
  <p:hf hdr="0" ft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17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9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BF6A6C-7E8B-461A-AE37-7420006FCF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1375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3BF6A6C-7E8B-461A-AE37-7420006FCF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7201" y="4767262"/>
            <a:ext cx="227291" cy="233363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09382" y="4767262"/>
            <a:ext cx="1376227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72B4ED32-288A-4939-B8DE-12607CAB14BB}" type="datetime6">
              <a:rPr lang="es-ES" smtClean="0"/>
              <a:pPr/>
              <a:t>noviembre de 2022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8126" y="4853433"/>
            <a:ext cx="2313370" cy="135000"/>
          </a:xfrm>
          <a:prstGeom prst="rect">
            <a:avLst/>
          </a:prstGeom>
        </p:spPr>
        <p:txBody>
          <a:bodyPr/>
          <a:lstStyle>
            <a:lvl1pPr marL="0" algn="l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88568" y="4865625"/>
            <a:ext cx="497041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GB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0665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6" r:id="rId1"/>
    <p:sldLayoutId id="2147484997" r:id="rId2"/>
    <p:sldLayoutId id="2147484998" r:id="rId3"/>
    <p:sldLayoutId id="2147484999" r:id="rId4"/>
    <p:sldLayoutId id="2147485000" r:id="rId5"/>
    <p:sldLayoutId id="2147485001" r:id="rId6"/>
    <p:sldLayoutId id="2147485002" r:id="rId7"/>
    <p:sldLayoutId id="2147485003" r:id="rId8"/>
    <p:sldLayoutId id="2147485004" r:id="rId9"/>
    <p:sldLayoutId id="2147485005" r:id="rId10"/>
    <p:sldLayoutId id="2147485006" r:id="rId11"/>
    <p:sldLayoutId id="2147485007" r:id="rId12"/>
    <p:sldLayoutId id="2147485008" r:id="rId13"/>
    <p:sldLayoutId id="2147485009" r:id="rId14"/>
    <p:sldLayoutId id="2147485010" r:id="rId15"/>
    <p:sldLayoutId id="2147485011" r:id="rId16"/>
    <p:sldLayoutId id="2147485012" r:id="rId17"/>
    <p:sldLayoutId id="2147485013" r:id="rId18"/>
    <p:sldLayoutId id="2147485014" r:id="rId19"/>
    <p:sldLayoutId id="2147485015" r:id="rId20"/>
    <p:sldLayoutId id="2147485016" r:id="rId21"/>
    <p:sldLayoutId id="2147485017" r:id="rId22"/>
    <p:sldLayoutId id="2147485018" r:id="rId23"/>
    <p:sldLayoutId id="2147485019" r:id="rId24"/>
    <p:sldLayoutId id="2147485020" r:id="rId25"/>
    <p:sldLayoutId id="2147485021" r:id="rId26"/>
    <p:sldLayoutId id="2147485022" r:id="rId27"/>
    <p:sldLayoutId id="2147485023" r:id="rId28"/>
    <p:sldLayoutId id="2147485024" r:id="rId29"/>
    <p:sldLayoutId id="2147485025" r:id="rId30"/>
    <p:sldLayoutId id="2147485026" r:id="rId31"/>
    <p:sldLayoutId id="2147485027" r:id="rId32"/>
    <p:sldLayoutId id="2147485028" r:id="rId33"/>
  </p:sldLayoutIdLst>
  <p:hf hdr="0" ft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17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9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10BA47-D27B-4878-9D41-4134182EC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53641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10BA47-D27B-4878-9D41-4134182EC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7201" y="4767262"/>
            <a:ext cx="227291" cy="233363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09382" y="4767262"/>
            <a:ext cx="1376227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72B4ED32-288A-4939-B8DE-12607CAB14BB}" type="datetime6">
              <a:rPr lang="es-ES" smtClean="0"/>
              <a:pPr/>
              <a:t>noviembre de 2022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8126" y="4853433"/>
            <a:ext cx="2313370" cy="135000"/>
          </a:xfrm>
          <a:prstGeom prst="rect">
            <a:avLst/>
          </a:prstGeom>
        </p:spPr>
        <p:txBody>
          <a:bodyPr/>
          <a:lstStyle>
            <a:lvl1pPr marL="0" algn="l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88568" y="4865625"/>
            <a:ext cx="497041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GB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58021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  <p:sldLayoutId id="2147485032" r:id="rId3"/>
    <p:sldLayoutId id="2147485033" r:id="rId4"/>
    <p:sldLayoutId id="2147485034" r:id="rId5"/>
    <p:sldLayoutId id="2147485035" r:id="rId6"/>
    <p:sldLayoutId id="2147485036" r:id="rId7"/>
    <p:sldLayoutId id="2147485037" r:id="rId8"/>
    <p:sldLayoutId id="2147485038" r:id="rId9"/>
    <p:sldLayoutId id="2147485039" r:id="rId10"/>
    <p:sldLayoutId id="2147485040" r:id="rId11"/>
    <p:sldLayoutId id="2147485041" r:id="rId12"/>
    <p:sldLayoutId id="2147485042" r:id="rId13"/>
    <p:sldLayoutId id="2147485043" r:id="rId14"/>
    <p:sldLayoutId id="2147485044" r:id="rId15"/>
    <p:sldLayoutId id="2147485045" r:id="rId16"/>
    <p:sldLayoutId id="2147485046" r:id="rId17"/>
    <p:sldLayoutId id="2147485047" r:id="rId18"/>
    <p:sldLayoutId id="2147485048" r:id="rId19"/>
    <p:sldLayoutId id="2147485049" r:id="rId20"/>
    <p:sldLayoutId id="2147485050" r:id="rId21"/>
    <p:sldLayoutId id="2147485051" r:id="rId22"/>
    <p:sldLayoutId id="2147485052" r:id="rId23"/>
    <p:sldLayoutId id="2147485053" r:id="rId24"/>
    <p:sldLayoutId id="2147485054" r:id="rId25"/>
    <p:sldLayoutId id="2147485055" r:id="rId26"/>
    <p:sldLayoutId id="2147485056" r:id="rId27"/>
    <p:sldLayoutId id="2147485057" r:id="rId28"/>
    <p:sldLayoutId id="2147485058" r:id="rId29"/>
    <p:sldLayoutId id="2147485059" r:id="rId30"/>
    <p:sldLayoutId id="2147485060" r:id="rId31"/>
    <p:sldLayoutId id="2147485061" r:id="rId32"/>
    <p:sldLayoutId id="2147485062" r:id="rId33"/>
  </p:sldLayoutIdLst>
  <p:hf hdr="0" ft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17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9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2DF58F-2D2C-4FCB-BFEB-74E2EB7E50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4217762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6" progId="TCLayout.ActiveDocument.1">
                  <p:embed/>
                </p:oleObj>
              </mc:Choice>
              <mc:Fallback>
                <p:oleObj name="think-cell Slide" r:id="rId36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2DF58F-2D2C-4FCB-BFEB-74E2EB7E5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29600" cy="4431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53440"/>
            <a:ext cx="8229600" cy="3710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7201" y="4767262"/>
            <a:ext cx="227291" cy="233363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49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09382" y="4767262"/>
            <a:ext cx="1376227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72B4ED32-288A-4939-B8DE-12607CAB14BB}" type="datetime6">
              <a:rPr lang="es-ES" smtClean="0"/>
              <a:pPr/>
              <a:t>noviembre de 2022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8126" y="4853433"/>
            <a:ext cx="2313370" cy="135000"/>
          </a:xfrm>
          <a:prstGeom prst="rect">
            <a:avLst/>
          </a:prstGeom>
        </p:spPr>
        <p:txBody>
          <a:bodyPr/>
          <a:lstStyle>
            <a:lvl1pPr marL="0" algn="l" defTabSz="685434" rtl="0" eaLnBrk="1" latinLnBrk="0" hangingPunct="1">
              <a:defRPr lang="en-US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88568" y="4865625"/>
            <a:ext cx="497041" cy="135000"/>
          </a:xfrm>
          <a:prstGeom prst="rect">
            <a:avLst/>
          </a:prstGeom>
        </p:spPr>
        <p:txBody>
          <a:bodyPr rIns="0"/>
          <a:lstStyle>
            <a:lvl1pPr marL="0" algn="r" defTabSz="685434" rtl="0" eaLnBrk="1" latinLnBrk="0" hangingPunct="1">
              <a:defRPr lang="en-GB" sz="6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35715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9" r:id="rId1"/>
    <p:sldLayoutId id="2147485100" r:id="rId2"/>
    <p:sldLayoutId id="2147485101" r:id="rId3"/>
    <p:sldLayoutId id="2147485102" r:id="rId4"/>
    <p:sldLayoutId id="2147485103" r:id="rId5"/>
    <p:sldLayoutId id="2147485104" r:id="rId6"/>
    <p:sldLayoutId id="2147485105" r:id="rId7"/>
    <p:sldLayoutId id="2147485106" r:id="rId8"/>
    <p:sldLayoutId id="2147485107" r:id="rId9"/>
    <p:sldLayoutId id="2147485108" r:id="rId10"/>
    <p:sldLayoutId id="2147485109" r:id="rId11"/>
    <p:sldLayoutId id="2147485110" r:id="rId12"/>
    <p:sldLayoutId id="2147485111" r:id="rId13"/>
    <p:sldLayoutId id="2147485112" r:id="rId14"/>
    <p:sldLayoutId id="2147485113" r:id="rId15"/>
    <p:sldLayoutId id="2147485114" r:id="rId16"/>
    <p:sldLayoutId id="2147485115" r:id="rId17"/>
    <p:sldLayoutId id="2147485116" r:id="rId18"/>
    <p:sldLayoutId id="2147485117" r:id="rId19"/>
    <p:sldLayoutId id="2147485118" r:id="rId20"/>
    <p:sldLayoutId id="2147485119" r:id="rId21"/>
    <p:sldLayoutId id="2147485120" r:id="rId22"/>
    <p:sldLayoutId id="2147485121" r:id="rId23"/>
    <p:sldLayoutId id="2147485122" r:id="rId24"/>
    <p:sldLayoutId id="2147485123" r:id="rId25"/>
    <p:sldLayoutId id="2147485124" r:id="rId26"/>
    <p:sldLayoutId id="2147485125" r:id="rId27"/>
    <p:sldLayoutId id="2147485126" r:id="rId28"/>
    <p:sldLayoutId id="2147485127" r:id="rId29"/>
    <p:sldLayoutId id="2147485128" r:id="rId30"/>
    <p:sldLayoutId id="2147485129" r:id="rId31"/>
    <p:sldLayoutId id="2147485130" r:id="rId32"/>
    <p:sldLayoutId id="2147485131" r:id="rId33"/>
  </p:sldLayoutIdLst>
  <p:hf hdr="0" ft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17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9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70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171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.emf"/><Relationship Id="rId9" Type="http://schemas.openxmlformats.org/officeDocument/2006/relationships/image" Target="../media/image1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18" Type="http://schemas.openxmlformats.org/officeDocument/2006/relationships/image" Target="../media/image3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slideLayout" Target="../slideLayouts/slideLayout171.xml"/><Relationship Id="rId16" Type="http://schemas.openxmlformats.org/officeDocument/2006/relationships/image" Target="../media/image32.png"/><Relationship Id="rId20" Type="http://schemas.openxmlformats.org/officeDocument/2006/relationships/image" Target="../media/image36.svg"/><Relationship Id="rId1" Type="http://schemas.openxmlformats.org/officeDocument/2006/relationships/tags" Target="../tags/tag10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png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4" Type="http://schemas.openxmlformats.org/officeDocument/2006/relationships/image" Target="../media/image1.emf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4.wmf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9.svg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71.xml"/><Relationship Id="rId16" Type="http://schemas.openxmlformats.org/officeDocument/2006/relationships/image" Target="../media/image47.svg"/><Relationship Id="rId1" Type="http://schemas.openxmlformats.org/officeDocument/2006/relationships/tags" Target="../tags/tag11.xml"/><Relationship Id="rId6" Type="http://schemas.openxmlformats.org/officeDocument/2006/relationships/image" Target="../media/image38.png"/><Relationship Id="rId11" Type="http://schemas.openxmlformats.org/officeDocument/2006/relationships/image" Target="../media/image43.svg"/><Relationship Id="rId5" Type="http://schemas.openxmlformats.org/officeDocument/2006/relationships/image" Target="../media/image37.png"/><Relationship Id="rId15" Type="http://schemas.openxmlformats.org/officeDocument/2006/relationships/image" Target="../media/image46.png"/><Relationship Id="rId10" Type="http://schemas.openxmlformats.org/officeDocument/2006/relationships/image" Target="../media/image42.png"/><Relationship Id="rId4" Type="http://schemas.openxmlformats.org/officeDocument/2006/relationships/image" Target="../media/image1.emf"/><Relationship Id="rId9" Type="http://schemas.openxmlformats.org/officeDocument/2006/relationships/image" Target="../media/image41.svg"/><Relationship Id="rId14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31D327-4561-4E1E-8DF3-44C0A92529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550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31D327-4561-4E1E-8DF3-44C0A92529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 descr="A city skyline with a tall tower&#10;&#10;Description automatically generated with low confidence">
            <a:extLst>
              <a:ext uri="{FF2B5EF4-FFF2-40B4-BE49-F238E27FC236}">
                <a16:creationId xmlns:a16="http://schemas.microsoft.com/office/drawing/2014/main" id="{33A42B1D-BDF7-497E-A72F-04CF3B3F622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5460"/>
          <a:stretch/>
        </p:blipFill>
        <p:spPr>
          <a:xfrm>
            <a:off x="0" y="0"/>
            <a:ext cx="9142388" cy="5143500"/>
          </a:xfrm>
          <a:prstGeom prst="rect">
            <a:avLst/>
          </a:prstGeom>
        </p:spPr>
      </p:pic>
      <p:sp>
        <p:nvSpPr>
          <p:cNvPr id="12" name="Flowchart: Manual Input 11">
            <a:extLst>
              <a:ext uri="{FF2B5EF4-FFF2-40B4-BE49-F238E27FC236}">
                <a16:creationId xmlns:a16="http://schemas.microsoft.com/office/drawing/2014/main" id="{7D2D6644-3B2F-47EA-8A2B-41B264902A39}"/>
              </a:ext>
            </a:extLst>
          </p:cNvPr>
          <p:cNvSpPr/>
          <p:nvPr/>
        </p:nvSpPr>
        <p:spPr>
          <a:xfrm>
            <a:off x="385886" y="768668"/>
            <a:ext cx="3643574" cy="2840104"/>
          </a:xfrm>
          <a:prstGeom prst="flowChartManualInput">
            <a:avLst/>
          </a:prstGeom>
          <a:solidFill>
            <a:schemeClr val="bg2">
              <a:lumMod val="75000"/>
              <a:lumOff val="25000"/>
              <a:alpha val="69804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6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8946" y="1566012"/>
            <a:ext cx="3289242" cy="6453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750" dirty="0">
                <a:solidFill>
                  <a:srgbClr val="FFE600"/>
                </a:solidFill>
                <a:latin typeface="EYInterstate" panose="02000503020000020004" pitchFamily="2" charset="0"/>
              </a:rPr>
              <a:t>Seattle Real Estate </a:t>
            </a:r>
            <a:r>
              <a:rPr lang="es-ES" sz="1750" dirty="0" err="1">
                <a:solidFill>
                  <a:srgbClr val="FFE600"/>
                </a:solidFill>
                <a:latin typeface="EYInterstate" panose="02000503020000020004" pitchFamily="2" charset="0"/>
              </a:rPr>
              <a:t>Regression</a:t>
            </a:r>
            <a:br>
              <a:rPr lang="es-ES" sz="1750" dirty="0">
                <a:solidFill>
                  <a:srgbClr val="FFE600"/>
                </a:solidFill>
                <a:latin typeface="EYInterstate" panose="02000503020000020004" pitchFamily="2" charset="0"/>
              </a:rPr>
            </a:br>
            <a:r>
              <a:rPr lang="es-ES" sz="1400" dirty="0">
                <a:solidFill>
                  <a:srgbClr val="FFE600"/>
                </a:solidFill>
                <a:latin typeface="EYInterstate" panose="02000503020000020004" pitchFamily="2" charset="0"/>
              </a:rPr>
              <a:t>Case </a:t>
            </a:r>
            <a:r>
              <a:rPr lang="es-ES" sz="1400" dirty="0" err="1">
                <a:solidFill>
                  <a:srgbClr val="FFE600"/>
                </a:solidFill>
                <a:latin typeface="EYInterstate" panose="02000503020000020004" pitchFamily="2" charset="0"/>
              </a:rPr>
              <a:t>Study</a:t>
            </a:r>
            <a:endParaRPr lang="es-ES" sz="1750" dirty="0">
              <a:solidFill>
                <a:schemeClr val="tx1"/>
              </a:solidFill>
              <a:latin typeface="EYInterstate" panose="02000503020000020004" pitchFamily="2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A1EB6AC0-B57E-427E-BF43-AB9300C1ADC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85887" y="663442"/>
            <a:ext cx="3643574" cy="2945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92684C03-1833-4AB9-BEF1-F25CFC659EE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85887" y="663442"/>
            <a:ext cx="3643574" cy="2945330"/>
          </a:xfrm>
          <a:custGeom>
            <a:avLst/>
            <a:gdLst>
              <a:gd name="T0" fmla="*/ 102 w 3410"/>
              <a:gd name="T1" fmla="*/ 2880 h 2880"/>
              <a:gd name="T2" fmla="*/ 0 w 3410"/>
              <a:gd name="T3" fmla="*/ 2880 h 2880"/>
              <a:gd name="T4" fmla="*/ 0 w 3410"/>
              <a:gd name="T5" fmla="*/ 2778 h 2880"/>
              <a:gd name="T6" fmla="*/ 102 w 3410"/>
              <a:gd name="T7" fmla="*/ 2778 h 2880"/>
              <a:gd name="T8" fmla="*/ 102 w 3410"/>
              <a:gd name="T9" fmla="*/ 2880 h 2880"/>
              <a:gd name="T10" fmla="*/ 288 w 3410"/>
              <a:gd name="T11" fmla="*/ 2778 h 2880"/>
              <a:gd name="T12" fmla="*/ 188 w 3410"/>
              <a:gd name="T13" fmla="*/ 2778 h 2880"/>
              <a:gd name="T14" fmla="*/ 188 w 3410"/>
              <a:gd name="T15" fmla="*/ 2880 h 2880"/>
              <a:gd name="T16" fmla="*/ 288 w 3410"/>
              <a:gd name="T17" fmla="*/ 2880 h 2880"/>
              <a:gd name="T18" fmla="*/ 288 w 3410"/>
              <a:gd name="T19" fmla="*/ 2778 h 2880"/>
              <a:gd name="T20" fmla="*/ 474 w 3410"/>
              <a:gd name="T21" fmla="*/ 2778 h 2880"/>
              <a:gd name="T22" fmla="*/ 374 w 3410"/>
              <a:gd name="T23" fmla="*/ 2778 h 2880"/>
              <a:gd name="T24" fmla="*/ 374 w 3410"/>
              <a:gd name="T25" fmla="*/ 2880 h 2880"/>
              <a:gd name="T26" fmla="*/ 474 w 3410"/>
              <a:gd name="T27" fmla="*/ 2880 h 2880"/>
              <a:gd name="T28" fmla="*/ 474 w 3410"/>
              <a:gd name="T29" fmla="*/ 2778 h 2880"/>
              <a:gd name="T30" fmla="*/ 0 w 3410"/>
              <a:gd name="T31" fmla="*/ 600 h 2880"/>
              <a:gd name="T32" fmla="*/ 0 w 3410"/>
              <a:gd name="T33" fmla="*/ 2694 h 2880"/>
              <a:gd name="T34" fmla="*/ 102 w 3410"/>
              <a:gd name="T35" fmla="*/ 2694 h 2880"/>
              <a:gd name="T36" fmla="*/ 102 w 3410"/>
              <a:gd name="T37" fmla="*/ 684 h 2880"/>
              <a:gd name="T38" fmla="*/ 3308 w 3410"/>
              <a:gd name="T39" fmla="*/ 120 h 2880"/>
              <a:gd name="T40" fmla="*/ 3310 w 3410"/>
              <a:gd name="T41" fmla="*/ 2778 h 2880"/>
              <a:gd name="T42" fmla="*/ 560 w 3410"/>
              <a:gd name="T43" fmla="*/ 2778 h 2880"/>
              <a:gd name="T44" fmla="*/ 560 w 3410"/>
              <a:gd name="T45" fmla="*/ 2880 h 2880"/>
              <a:gd name="T46" fmla="*/ 3410 w 3410"/>
              <a:gd name="T47" fmla="*/ 2880 h 2880"/>
              <a:gd name="T48" fmla="*/ 3410 w 3410"/>
              <a:gd name="T49" fmla="*/ 0 h 2880"/>
              <a:gd name="T50" fmla="*/ 0 w 3410"/>
              <a:gd name="T51" fmla="*/ 600 h 2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0">
                <a:moveTo>
                  <a:pt x="102" y="2880"/>
                </a:moveTo>
                <a:lnTo>
                  <a:pt x="0" y="2880"/>
                </a:lnTo>
                <a:lnTo>
                  <a:pt x="0" y="2778"/>
                </a:lnTo>
                <a:lnTo>
                  <a:pt x="102" y="2778"/>
                </a:lnTo>
                <a:lnTo>
                  <a:pt x="102" y="2880"/>
                </a:lnTo>
                <a:close/>
                <a:moveTo>
                  <a:pt x="288" y="2778"/>
                </a:moveTo>
                <a:lnTo>
                  <a:pt x="188" y="2778"/>
                </a:lnTo>
                <a:lnTo>
                  <a:pt x="188" y="2880"/>
                </a:lnTo>
                <a:lnTo>
                  <a:pt x="288" y="2880"/>
                </a:lnTo>
                <a:lnTo>
                  <a:pt x="288" y="2778"/>
                </a:lnTo>
                <a:close/>
                <a:moveTo>
                  <a:pt x="474" y="2778"/>
                </a:moveTo>
                <a:lnTo>
                  <a:pt x="374" y="2778"/>
                </a:lnTo>
                <a:lnTo>
                  <a:pt x="374" y="2880"/>
                </a:lnTo>
                <a:lnTo>
                  <a:pt x="474" y="2880"/>
                </a:lnTo>
                <a:lnTo>
                  <a:pt x="474" y="2778"/>
                </a:lnTo>
                <a:close/>
                <a:moveTo>
                  <a:pt x="0" y="600"/>
                </a:moveTo>
                <a:lnTo>
                  <a:pt x="0" y="2694"/>
                </a:lnTo>
                <a:lnTo>
                  <a:pt x="102" y="2694"/>
                </a:lnTo>
                <a:lnTo>
                  <a:pt x="102" y="684"/>
                </a:lnTo>
                <a:lnTo>
                  <a:pt x="3308" y="120"/>
                </a:lnTo>
                <a:lnTo>
                  <a:pt x="3310" y="2778"/>
                </a:lnTo>
                <a:lnTo>
                  <a:pt x="560" y="2778"/>
                </a:lnTo>
                <a:lnTo>
                  <a:pt x="560" y="2880"/>
                </a:lnTo>
                <a:lnTo>
                  <a:pt x="3410" y="2880"/>
                </a:lnTo>
                <a:lnTo>
                  <a:pt x="3410" y="0"/>
                </a:lnTo>
                <a:lnTo>
                  <a:pt x="0" y="60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89FF830A-C965-4519-A32B-9D104B6981E4}"/>
              </a:ext>
            </a:extLst>
          </p:cNvPr>
          <p:cNvSpPr txBox="1">
            <a:spLocks/>
          </p:cNvSpPr>
          <p:nvPr/>
        </p:nvSpPr>
        <p:spPr>
          <a:xfrm>
            <a:off x="630750" y="3004725"/>
            <a:ext cx="3257438" cy="484307"/>
          </a:xfrm>
          <a:prstGeom prst="rect">
            <a:avLst/>
          </a:prstGeom>
        </p:spPr>
        <p:txBody>
          <a:bodyPr vert="horz" lIns="0" tIns="45720" rIns="91440" bIns="45720" rtlCol="0">
            <a:normAutofit lnSpcReduction="10000"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4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199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457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186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0915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3643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6371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91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1828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199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Regular" panose="02000503020000020004" pitchFamily="2" charset="0"/>
                <a:ea typeface="+mn-ea"/>
                <a:cs typeface="Arial" pitchFamily="34" charset="0"/>
                <a:sym typeface="Arial"/>
              </a:rPr>
              <a:t>Oscar Recasens &amp; Eugenio Hernández</a:t>
            </a:r>
          </a:p>
          <a:p>
            <a:pPr marL="0" marR="0" lvl="0" indent="0" algn="l" defTabSz="68580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sz="1000" dirty="0">
                <a:solidFill>
                  <a:prstClr val="white"/>
                </a:solidFill>
                <a:latin typeface="EYInterstate Regular" panose="02000503020000020004" pitchFamily="2" charset="0"/>
              </a:rPr>
              <a:t>			Noviembre 2022</a:t>
            </a:r>
            <a:endParaRPr kumimoji="0" lang="es-ES" sz="10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Regular" panose="02000503020000020004" pitchFamily="2" charset="0"/>
              <a:ea typeface="+mn-ea"/>
              <a:cs typeface="Arial" pitchFamily="34" charset="0"/>
              <a:sym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26666B-6D19-4480-BF3D-8CB432431E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497" y="4272213"/>
            <a:ext cx="3684243" cy="762628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E2D30A4D-1303-4F25-B722-5312C7EF84B2}"/>
              </a:ext>
            </a:extLst>
          </p:cNvPr>
          <p:cNvGrpSpPr/>
          <p:nvPr/>
        </p:nvGrpSpPr>
        <p:grpSpPr>
          <a:xfrm>
            <a:off x="7769615" y="4012829"/>
            <a:ext cx="840985" cy="984587"/>
            <a:chOff x="10582275" y="5340350"/>
            <a:chExt cx="989013" cy="1157288"/>
          </a:xfrm>
        </p:grpSpPr>
        <p:sp>
          <p:nvSpPr>
            <p:cNvPr id="20" name="AutoShape 3">
              <a:extLst>
                <a:ext uri="{FF2B5EF4-FFF2-40B4-BE49-F238E27FC236}">
                  <a16:creationId xmlns:a16="http://schemas.microsoft.com/office/drawing/2014/main" id="{45301D58-F232-4D55-BBE6-84BE4A5D808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10582275" y="5340350"/>
              <a:ext cx="989013" cy="1157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8509251-D9A0-4879-B03E-143AC8ACE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2275" y="5340350"/>
              <a:ext cx="792163" cy="288925"/>
            </a:xfrm>
            <a:custGeom>
              <a:avLst/>
              <a:gdLst>
                <a:gd name="T0" fmla="*/ 2495 w 2495"/>
                <a:gd name="T1" fmla="*/ 0 h 910"/>
                <a:gd name="T2" fmla="*/ 0 w 2495"/>
                <a:gd name="T3" fmla="*/ 910 h 910"/>
                <a:gd name="T4" fmla="*/ 2495 w 2495"/>
                <a:gd name="T5" fmla="*/ 469 h 910"/>
                <a:gd name="T6" fmla="*/ 2495 w 2495"/>
                <a:gd name="T7" fmla="*/ 0 h 910"/>
                <a:gd name="T8" fmla="*/ 2495 w 2495"/>
                <a:gd name="T9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95" h="910">
                  <a:moveTo>
                    <a:pt x="2495" y="0"/>
                  </a:moveTo>
                  <a:lnTo>
                    <a:pt x="0" y="910"/>
                  </a:lnTo>
                  <a:lnTo>
                    <a:pt x="2495" y="469"/>
                  </a:lnTo>
                  <a:lnTo>
                    <a:pt x="2495" y="0"/>
                  </a:lnTo>
                  <a:lnTo>
                    <a:pt x="2495" y="0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7C23E49-C201-456F-BF79-FF8CD33D0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82275" y="5749925"/>
              <a:ext cx="989013" cy="747713"/>
            </a:xfrm>
            <a:custGeom>
              <a:avLst/>
              <a:gdLst>
                <a:gd name="T0" fmla="*/ 229 w 3115"/>
                <a:gd name="T1" fmla="*/ 1594 h 2357"/>
                <a:gd name="T2" fmla="*/ 258 w 3115"/>
                <a:gd name="T3" fmla="*/ 1788 h 2357"/>
                <a:gd name="T4" fmla="*/ 151 w 3115"/>
                <a:gd name="T5" fmla="*/ 1685 h 2357"/>
                <a:gd name="T6" fmla="*/ 354 w 3115"/>
                <a:gd name="T7" fmla="*/ 1774 h 2357"/>
                <a:gd name="T8" fmla="*/ 406 w 3115"/>
                <a:gd name="T9" fmla="*/ 1877 h 2357"/>
                <a:gd name="T10" fmla="*/ 1162 w 3115"/>
                <a:gd name="T11" fmla="*/ 1655 h 2357"/>
                <a:gd name="T12" fmla="*/ 1225 w 3115"/>
                <a:gd name="T13" fmla="*/ 1727 h 2357"/>
                <a:gd name="T14" fmla="*/ 702 w 3115"/>
                <a:gd name="T15" fmla="*/ 1874 h 2357"/>
                <a:gd name="T16" fmla="*/ 741 w 3115"/>
                <a:gd name="T17" fmla="*/ 1748 h 2357"/>
                <a:gd name="T18" fmla="*/ 878 w 3115"/>
                <a:gd name="T19" fmla="*/ 1874 h 2357"/>
                <a:gd name="T20" fmla="*/ 859 w 3115"/>
                <a:gd name="T21" fmla="*/ 1701 h 2357"/>
                <a:gd name="T22" fmla="*/ 2043 w 3115"/>
                <a:gd name="T23" fmla="*/ 1863 h 2357"/>
                <a:gd name="T24" fmla="*/ 2172 w 3115"/>
                <a:gd name="T25" fmla="*/ 1723 h 2357"/>
                <a:gd name="T26" fmla="*/ 2116 w 3115"/>
                <a:gd name="T27" fmla="*/ 1790 h 2357"/>
                <a:gd name="T28" fmla="*/ 1453 w 3115"/>
                <a:gd name="T29" fmla="*/ 1662 h 2357"/>
                <a:gd name="T30" fmla="*/ 1324 w 3115"/>
                <a:gd name="T31" fmla="*/ 1799 h 2357"/>
                <a:gd name="T32" fmla="*/ 1452 w 3115"/>
                <a:gd name="T33" fmla="*/ 1897 h 2357"/>
                <a:gd name="T34" fmla="*/ 1513 w 3115"/>
                <a:gd name="T35" fmla="*/ 1868 h 2357"/>
                <a:gd name="T36" fmla="*/ 1391 w 3115"/>
                <a:gd name="T37" fmla="*/ 1709 h 2357"/>
                <a:gd name="T38" fmla="*/ 1782 w 3115"/>
                <a:gd name="T39" fmla="*/ 1714 h 2357"/>
                <a:gd name="T40" fmla="*/ 1662 w 3115"/>
                <a:gd name="T41" fmla="*/ 1851 h 2357"/>
                <a:gd name="T42" fmla="*/ 1808 w 3115"/>
                <a:gd name="T43" fmla="*/ 1662 h 2357"/>
                <a:gd name="T44" fmla="*/ 1739 w 3115"/>
                <a:gd name="T45" fmla="*/ 1769 h 2357"/>
                <a:gd name="T46" fmla="*/ 2354 w 3115"/>
                <a:gd name="T47" fmla="*/ 1810 h 2357"/>
                <a:gd name="T48" fmla="*/ 2384 w 3115"/>
                <a:gd name="T49" fmla="*/ 1694 h 2357"/>
                <a:gd name="T50" fmla="*/ 2203 w 3115"/>
                <a:gd name="T51" fmla="*/ 1763 h 2357"/>
                <a:gd name="T52" fmla="*/ 2261 w 3115"/>
                <a:gd name="T53" fmla="*/ 1739 h 2357"/>
                <a:gd name="T54" fmla="*/ 2844 w 3115"/>
                <a:gd name="T55" fmla="*/ 1829 h 2357"/>
                <a:gd name="T56" fmla="*/ 2878 w 3115"/>
                <a:gd name="T57" fmla="*/ 1654 h 2357"/>
                <a:gd name="T58" fmla="*/ 2755 w 3115"/>
                <a:gd name="T59" fmla="*/ 1831 h 2357"/>
                <a:gd name="T60" fmla="*/ 2814 w 3115"/>
                <a:gd name="T61" fmla="*/ 1700 h 2357"/>
                <a:gd name="T62" fmla="*/ 2712 w 3115"/>
                <a:gd name="T63" fmla="*/ 1821 h 2357"/>
                <a:gd name="T64" fmla="*/ 2712 w 3115"/>
                <a:gd name="T65" fmla="*/ 1651 h 2357"/>
                <a:gd name="T66" fmla="*/ 2448 w 3115"/>
                <a:gd name="T67" fmla="*/ 1593 h 2357"/>
                <a:gd name="T68" fmla="*/ 3064 w 3115"/>
                <a:gd name="T69" fmla="*/ 1701 h 2357"/>
                <a:gd name="T70" fmla="*/ 3115 w 3115"/>
                <a:gd name="T71" fmla="*/ 1659 h 2357"/>
                <a:gd name="T72" fmla="*/ 2545 w 3115"/>
                <a:gd name="T73" fmla="*/ 2046 h 2357"/>
                <a:gd name="T74" fmla="*/ 2437 w 3115"/>
                <a:gd name="T75" fmla="*/ 2222 h 2357"/>
                <a:gd name="T76" fmla="*/ 2515 w 3115"/>
                <a:gd name="T77" fmla="*/ 2219 h 2357"/>
                <a:gd name="T78" fmla="*/ 2547 w 3115"/>
                <a:gd name="T79" fmla="*/ 2212 h 2357"/>
                <a:gd name="T80" fmla="*/ 607 w 3115"/>
                <a:gd name="T81" fmla="*/ 2056 h 2357"/>
                <a:gd name="T82" fmla="*/ 0 w 3115"/>
                <a:gd name="T83" fmla="*/ 2042 h 2357"/>
                <a:gd name="T84" fmla="*/ 344 w 3115"/>
                <a:gd name="T85" fmla="*/ 2062 h 2357"/>
                <a:gd name="T86" fmla="*/ 421 w 3115"/>
                <a:gd name="T87" fmla="*/ 2270 h 2357"/>
                <a:gd name="T88" fmla="*/ 451 w 3115"/>
                <a:gd name="T89" fmla="*/ 2046 h 2357"/>
                <a:gd name="T90" fmla="*/ 429 w 3115"/>
                <a:gd name="T91" fmla="*/ 2093 h 2357"/>
                <a:gd name="T92" fmla="*/ 2222 w 3115"/>
                <a:gd name="T93" fmla="*/ 2106 h 2357"/>
                <a:gd name="T94" fmla="*/ 1844 w 3115"/>
                <a:gd name="T95" fmla="*/ 2266 h 2357"/>
                <a:gd name="T96" fmla="*/ 1832 w 3115"/>
                <a:gd name="T97" fmla="*/ 2125 h 2357"/>
                <a:gd name="T98" fmla="*/ 1940 w 3115"/>
                <a:gd name="T99" fmla="*/ 2230 h 2357"/>
                <a:gd name="T100" fmla="*/ 2122 w 3115"/>
                <a:gd name="T101" fmla="*/ 2141 h 2357"/>
                <a:gd name="T102" fmla="*/ 1975 w 3115"/>
                <a:gd name="T103" fmla="*/ 2155 h 2357"/>
                <a:gd name="T104" fmla="*/ 2020 w 3115"/>
                <a:gd name="T105" fmla="*/ 2219 h 2357"/>
                <a:gd name="T106" fmla="*/ 1147 w 3115"/>
                <a:gd name="T107" fmla="*/ 2039 h 2357"/>
                <a:gd name="T108" fmla="*/ 1175 w 3115"/>
                <a:gd name="T109" fmla="*/ 2096 h 2357"/>
                <a:gd name="T110" fmla="*/ 1343 w 3115"/>
                <a:gd name="T111" fmla="*/ 2041 h 2357"/>
                <a:gd name="T112" fmla="*/ 1350 w 3115"/>
                <a:gd name="T113" fmla="*/ 2269 h 2357"/>
                <a:gd name="T114" fmla="*/ 1366 w 3115"/>
                <a:gd name="T115" fmla="*/ 2357 h 2357"/>
                <a:gd name="T116" fmla="*/ 1399 w 3115"/>
                <a:gd name="T117" fmla="*/ 2216 h 2357"/>
                <a:gd name="T118" fmla="*/ 1414 w 3115"/>
                <a:gd name="T119" fmla="*/ 2102 h 2357"/>
                <a:gd name="T120" fmla="*/ 401 w 3115"/>
                <a:gd name="T121" fmla="*/ 498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15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3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4" y="1709"/>
                  </a:lnTo>
                  <a:lnTo>
                    <a:pt x="214" y="1709"/>
                  </a:lnTo>
                  <a:lnTo>
                    <a:pt x="222" y="1703"/>
                  </a:lnTo>
                  <a:lnTo>
                    <a:pt x="228" y="1698"/>
                  </a:lnTo>
                  <a:lnTo>
                    <a:pt x="234" y="1691"/>
                  </a:lnTo>
                  <a:lnTo>
                    <a:pt x="239" y="1683"/>
                  </a:lnTo>
                  <a:lnTo>
                    <a:pt x="244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3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4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3" y="1576"/>
                  </a:lnTo>
                  <a:lnTo>
                    <a:pt x="194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4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3" y="1874"/>
                  </a:lnTo>
                  <a:lnTo>
                    <a:pt x="153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4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3" y="1834"/>
                  </a:lnTo>
                  <a:lnTo>
                    <a:pt x="248" y="1827"/>
                  </a:lnTo>
                  <a:lnTo>
                    <a:pt x="252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3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3" y="1735"/>
                  </a:lnTo>
                  <a:lnTo>
                    <a:pt x="153" y="1735"/>
                  </a:lnTo>
                  <a:lnTo>
                    <a:pt x="164" y="1737"/>
                  </a:lnTo>
                  <a:lnTo>
                    <a:pt x="173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3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3" y="1820"/>
                  </a:lnTo>
                  <a:lnTo>
                    <a:pt x="163" y="1822"/>
                  </a:lnTo>
                  <a:lnTo>
                    <a:pt x="153" y="1823"/>
                  </a:lnTo>
                  <a:lnTo>
                    <a:pt x="153" y="1823"/>
                  </a:lnTo>
                  <a:lnTo>
                    <a:pt x="153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4" y="1624"/>
                  </a:lnTo>
                  <a:lnTo>
                    <a:pt x="179" y="1628"/>
                  </a:lnTo>
                  <a:lnTo>
                    <a:pt x="184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3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3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4" y="1651"/>
                  </a:lnTo>
                  <a:lnTo>
                    <a:pt x="354" y="1774"/>
                  </a:lnTo>
                  <a:lnTo>
                    <a:pt x="354" y="1774"/>
                  </a:lnTo>
                  <a:lnTo>
                    <a:pt x="354" y="1787"/>
                  </a:lnTo>
                  <a:lnTo>
                    <a:pt x="356" y="1799"/>
                  </a:lnTo>
                  <a:lnTo>
                    <a:pt x="360" y="1808"/>
                  </a:lnTo>
                  <a:lnTo>
                    <a:pt x="364" y="1815"/>
                  </a:lnTo>
                  <a:lnTo>
                    <a:pt x="370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3" y="1825"/>
                  </a:lnTo>
                  <a:lnTo>
                    <a:pt x="421" y="1821"/>
                  </a:lnTo>
                  <a:lnTo>
                    <a:pt x="426" y="1815"/>
                  </a:lnTo>
                  <a:lnTo>
                    <a:pt x="431" y="1808"/>
                  </a:lnTo>
                  <a:lnTo>
                    <a:pt x="434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2" y="1651"/>
                  </a:lnTo>
                  <a:lnTo>
                    <a:pt x="492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2" y="1862"/>
                  </a:lnTo>
                  <a:lnTo>
                    <a:pt x="425" y="1867"/>
                  </a:lnTo>
                  <a:lnTo>
                    <a:pt x="420" y="1871"/>
                  </a:lnTo>
                  <a:lnTo>
                    <a:pt x="413" y="1873"/>
                  </a:lnTo>
                  <a:lnTo>
                    <a:pt x="406" y="1877"/>
                  </a:lnTo>
                  <a:lnTo>
                    <a:pt x="399" y="1878"/>
                  </a:lnTo>
                  <a:lnTo>
                    <a:pt x="391" y="1879"/>
                  </a:lnTo>
                  <a:lnTo>
                    <a:pt x="383" y="1880"/>
                  </a:lnTo>
                  <a:lnTo>
                    <a:pt x="383" y="1880"/>
                  </a:lnTo>
                  <a:lnTo>
                    <a:pt x="370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1" y="1863"/>
                  </a:lnTo>
                  <a:lnTo>
                    <a:pt x="324" y="1858"/>
                  </a:lnTo>
                  <a:lnTo>
                    <a:pt x="318" y="1850"/>
                  </a:lnTo>
                  <a:lnTo>
                    <a:pt x="313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2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4" y="1874"/>
                  </a:moveTo>
                  <a:lnTo>
                    <a:pt x="1089" y="1874"/>
                  </a:lnTo>
                  <a:lnTo>
                    <a:pt x="1089" y="1651"/>
                  </a:lnTo>
                  <a:lnTo>
                    <a:pt x="1144" y="1651"/>
                  </a:lnTo>
                  <a:lnTo>
                    <a:pt x="1144" y="1670"/>
                  </a:lnTo>
                  <a:lnTo>
                    <a:pt x="1144" y="1670"/>
                  </a:lnTo>
                  <a:lnTo>
                    <a:pt x="1150" y="1664"/>
                  </a:lnTo>
                  <a:lnTo>
                    <a:pt x="1156" y="1659"/>
                  </a:lnTo>
                  <a:lnTo>
                    <a:pt x="1162" y="1655"/>
                  </a:lnTo>
                  <a:lnTo>
                    <a:pt x="1169" y="1652"/>
                  </a:lnTo>
                  <a:lnTo>
                    <a:pt x="1177" y="1649"/>
                  </a:lnTo>
                  <a:lnTo>
                    <a:pt x="1183" y="1648"/>
                  </a:lnTo>
                  <a:lnTo>
                    <a:pt x="1192" y="1646"/>
                  </a:lnTo>
                  <a:lnTo>
                    <a:pt x="1200" y="1645"/>
                  </a:lnTo>
                  <a:lnTo>
                    <a:pt x="1200" y="1645"/>
                  </a:lnTo>
                  <a:lnTo>
                    <a:pt x="1210" y="1646"/>
                  </a:lnTo>
                  <a:lnTo>
                    <a:pt x="1219" y="1648"/>
                  </a:lnTo>
                  <a:lnTo>
                    <a:pt x="1228" y="1650"/>
                  </a:lnTo>
                  <a:lnTo>
                    <a:pt x="1236" y="1652"/>
                  </a:lnTo>
                  <a:lnTo>
                    <a:pt x="1244" y="1655"/>
                  </a:lnTo>
                  <a:lnTo>
                    <a:pt x="1250" y="1661"/>
                  </a:lnTo>
                  <a:lnTo>
                    <a:pt x="1256" y="1665"/>
                  </a:lnTo>
                  <a:lnTo>
                    <a:pt x="1261" y="1672"/>
                  </a:lnTo>
                  <a:lnTo>
                    <a:pt x="1267" y="1679"/>
                  </a:lnTo>
                  <a:lnTo>
                    <a:pt x="1270" y="1686"/>
                  </a:lnTo>
                  <a:lnTo>
                    <a:pt x="1275" y="1694"/>
                  </a:lnTo>
                  <a:lnTo>
                    <a:pt x="1277" y="1703"/>
                  </a:lnTo>
                  <a:lnTo>
                    <a:pt x="1279" y="1713"/>
                  </a:lnTo>
                  <a:lnTo>
                    <a:pt x="1281" y="1724"/>
                  </a:lnTo>
                  <a:lnTo>
                    <a:pt x="1283" y="1735"/>
                  </a:lnTo>
                  <a:lnTo>
                    <a:pt x="1283" y="1748"/>
                  </a:lnTo>
                  <a:lnTo>
                    <a:pt x="1283" y="1874"/>
                  </a:lnTo>
                  <a:lnTo>
                    <a:pt x="1227" y="1874"/>
                  </a:lnTo>
                  <a:lnTo>
                    <a:pt x="1227" y="1751"/>
                  </a:lnTo>
                  <a:lnTo>
                    <a:pt x="1227" y="1751"/>
                  </a:lnTo>
                  <a:lnTo>
                    <a:pt x="1227" y="1738"/>
                  </a:lnTo>
                  <a:lnTo>
                    <a:pt x="1225" y="1727"/>
                  </a:lnTo>
                  <a:lnTo>
                    <a:pt x="1221" y="1718"/>
                  </a:lnTo>
                  <a:lnTo>
                    <a:pt x="1217" y="1710"/>
                  </a:lnTo>
                  <a:lnTo>
                    <a:pt x="1211" y="1704"/>
                  </a:lnTo>
                  <a:lnTo>
                    <a:pt x="1205" y="1700"/>
                  </a:lnTo>
                  <a:lnTo>
                    <a:pt x="1197" y="1698"/>
                  </a:lnTo>
                  <a:lnTo>
                    <a:pt x="1187" y="1696"/>
                  </a:lnTo>
                  <a:lnTo>
                    <a:pt x="1187" y="1696"/>
                  </a:lnTo>
                  <a:lnTo>
                    <a:pt x="1177" y="1698"/>
                  </a:lnTo>
                  <a:lnTo>
                    <a:pt x="1168" y="1700"/>
                  </a:lnTo>
                  <a:lnTo>
                    <a:pt x="1161" y="1704"/>
                  </a:lnTo>
                  <a:lnTo>
                    <a:pt x="1156" y="1710"/>
                  </a:lnTo>
                  <a:lnTo>
                    <a:pt x="1150" y="1718"/>
                  </a:lnTo>
                  <a:lnTo>
                    <a:pt x="1147" y="1728"/>
                  </a:lnTo>
                  <a:lnTo>
                    <a:pt x="1144" y="1739"/>
                  </a:lnTo>
                  <a:lnTo>
                    <a:pt x="1144" y="1751"/>
                  </a:lnTo>
                  <a:lnTo>
                    <a:pt x="1144" y="1874"/>
                  </a:lnTo>
                  <a:lnTo>
                    <a:pt x="1144" y="1874"/>
                  </a:lnTo>
                  <a:close/>
                  <a:moveTo>
                    <a:pt x="598" y="1762"/>
                  </a:moveTo>
                  <a:lnTo>
                    <a:pt x="598" y="1874"/>
                  </a:lnTo>
                  <a:lnTo>
                    <a:pt x="542" y="1874"/>
                  </a:lnTo>
                  <a:lnTo>
                    <a:pt x="542" y="1651"/>
                  </a:lnTo>
                  <a:lnTo>
                    <a:pt x="598" y="1651"/>
                  </a:lnTo>
                  <a:lnTo>
                    <a:pt x="598" y="1762"/>
                  </a:lnTo>
                  <a:lnTo>
                    <a:pt x="598" y="1762"/>
                  </a:lnTo>
                  <a:close/>
                  <a:moveTo>
                    <a:pt x="647" y="1585"/>
                  </a:moveTo>
                  <a:lnTo>
                    <a:pt x="702" y="1558"/>
                  </a:lnTo>
                  <a:lnTo>
                    <a:pt x="702" y="1760"/>
                  </a:lnTo>
                  <a:lnTo>
                    <a:pt x="702" y="1874"/>
                  </a:lnTo>
                  <a:lnTo>
                    <a:pt x="647" y="1874"/>
                  </a:lnTo>
                  <a:lnTo>
                    <a:pt x="647" y="1585"/>
                  </a:lnTo>
                  <a:lnTo>
                    <a:pt x="647" y="1585"/>
                  </a:lnTo>
                  <a:close/>
                  <a:moveTo>
                    <a:pt x="878" y="1666"/>
                  </a:moveTo>
                  <a:lnTo>
                    <a:pt x="878" y="1666"/>
                  </a:lnTo>
                  <a:lnTo>
                    <a:pt x="874" y="1661"/>
                  </a:lnTo>
                  <a:lnTo>
                    <a:pt x="868" y="1658"/>
                  </a:lnTo>
                  <a:lnTo>
                    <a:pt x="862" y="1653"/>
                  </a:lnTo>
                  <a:lnTo>
                    <a:pt x="856" y="1651"/>
                  </a:lnTo>
                  <a:lnTo>
                    <a:pt x="849" y="1649"/>
                  </a:lnTo>
                  <a:lnTo>
                    <a:pt x="843" y="1646"/>
                  </a:lnTo>
                  <a:lnTo>
                    <a:pt x="829" y="1645"/>
                  </a:lnTo>
                  <a:lnTo>
                    <a:pt x="829" y="1645"/>
                  </a:lnTo>
                  <a:lnTo>
                    <a:pt x="819" y="1646"/>
                  </a:lnTo>
                  <a:lnTo>
                    <a:pt x="809" y="1648"/>
                  </a:lnTo>
                  <a:lnTo>
                    <a:pt x="800" y="1650"/>
                  </a:lnTo>
                  <a:lnTo>
                    <a:pt x="793" y="1653"/>
                  </a:lnTo>
                  <a:lnTo>
                    <a:pt x="785" y="1658"/>
                  </a:lnTo>
                  <a:lnTo>
                    <a:pt x="777" y="1663"/>
                  </a:lnTo>
                  <a:lnTo>
                    <a:pt x="770" y="1670"/>
                  </a:lnTo>
                  <a:lnTo>
                    <a:pt x="765" y="1676"/>
                  </a:lnTo>
                  <a:lnTo>
                    <a:pt x="759" y="1684"/>
                  </a:lnTo>
                  <a:lnTo>
                    <a:pt x="755" y="1693"/>
                  </a:lnTo>
                  <a:lnTo>
                    <a:pt x="750" y="1702"/>
                  </a:lnTo>
                  <a:lnTo>
                    <a:pt x="747" y="1712"/>
                  </a:lnTo>
                  <a:lnTo>
                    <a:pt x="745" y="1723"/>
                  </a:lnTo>
                  <a:lnTo>
                    <a:pt x="743" y="1735"/>
                  </a:lnTo>
                  <a:lnTo>
                    <a:pt x="741" y="1748"/>
                  </a:lnTo>
                  <a:lnTo>
                    <a:pt x="741" y="1760"/>
                  </a:lnTo>
                  <a:lnTo>
                    <a:pt x="741" y="1760"/>
                  </a:lnTo>
                  <a:lnTo>
                    <a:pt x="741" y="1774"/>
                  </a:lnTo>
                  <a:lnTo>
                    <a:pt x="743" y="1787"/>
                  </a:lnTo>
                  <a:lnTo>
                    <a:pt x="745" y="1799"/>
                  </a:lnTo>
                  <a:lnTo>
                    <a:pt x="747" y="1810"/>
                  </a:lnTo>
                  <a:lnTo>
                    <a:pt x="750" y="1821"/>
                  </a:lnTo>
                  <a:lnTo>
                    <a:pt x="754" y="1831"/>
                  </a:lnTo>
                  <a:lnTo>
                    <a:pt x="758" y="1840"/>
                  </a:lnTo>
                  <a:lnTo>
                    <a:pt x="764" y="1848"/>
                  </a:lnTo>
                  <a:lnTo>
                    <a:pt x="770" y="1856"/>
                  </a:lnTo>
                  <a:lnTo>
                    <a:pt x="776" y="1861"/>
                  </a:lnTo>
                  <a:lnTo>
                    <a:pt x="784" y="1867"/>
                  </a:lnTo>
                  <a:lnTo>
                    <a:pt x="792" y="1871"/>
                  </a:lnTo>
                  <a:lnTo>
                    <a:pt x="799" y="1874"/>
                  </a:lnTo>
                  <a:lnTo>
                    <a:pt x="808" y="1878"/>
                  </a:lnTo>
                  <a:lnTo>
                    <a:pt x="818" y="1879"/>
                  </a:lnTo>
                  <a:lnTo>
                    <a:pt x="828" y="1880"/>
                  </a:lnTo>
                  <a:lnTo>
                    <a:pt x="828" y="1880"/>
                  </a:lnTo>
                  <a:lnTo>
                    <a:pt x="835" y="1879"/>
                  </a:lnTo>
                  <a:lnTo>
                    <a:pt x="842" y="1878"/>
                  </a:lnTo>
                  <a:lnTo>
                    <a:pt x="848" y="1877"/>
                  </a:lnTo>
                  <a:lnTo>
                    <a:pt x="855" y="1874"/>
                  </a:lnTo>
                  <a:lnTo>
                    <a:pt x="861" y="1871"/>
                  </a:lnTo>
                  <a:lnTo>
                    <a:pt x="867" y="1868"/>
                  </a:lnTo>
                  <a:lnTo>
                    <a:pt x="873" y="1863"/>
                  </a:lnTo>
                  <a:lnTo>
                    <a:pt x="878" y="1858"/>
                  </a:lnTo>
                  <a:lnTo>
                    <a:pt x="878" y="1874"/>
                  </a:lnTo>
                  <a:lnTo>
                    <a:pt x="934" y="1874"/>
                  </a:lnTo>
                  <a:lnTo>
                    <a:pt x="934" y="1558"/>
                  </a:lnTo>
                  <a:lnTo>
                    <a:pt x="878" y="1585"/>
                  </a:lnTo>
                  <a:lnTo>
                    <a:pt x="878" y="1666"/>
                  </a:lnTo>
                  <a:lnTo>
                    <a:pt x="878" y="1666"/>
                  </a:lnTo>
                  <a:close/>
                  <a:moveTo>
                    <a:pt x="839" y="1829"/>
                  </a:moveTo>
                  <a:lnTo>
                    <a:pt x="839" y="1829"/>
                  </a:lnTo>
                  <a:lnTo>
                    <a:pt x="833" y="1828"/>
                  </a:lnTo>
                  <a:lnTo>
                    <a:pt x="825" y="1825"/>
                  </a:lnTo>
                  <a:lnTo>
                    <a:pt x="818" y="1822"/>
                  </a:lnTo>
                  <a:lnTo>
                    <a:pt x="812" y="1815"/>
                  </a:lnTo>
                  <a:lnTo>
                    <a:pt x="806" y="1807"/>
                  </a:lnTo>
                  <a:lnTo>
                    <a:pt x="802" y="1794"/>
                  </a:lnTo>
                  <a:lnTo>
                    <a:pt x="798" y="1779"/>
                  </a:lnTo>
                  <a:lnTo>
                    <a:pt x="797" y="1759"/>
                  </a:lnTo>
                  <a:lnTo>
                    <a:pt x="797" y="1759"/>
                  </a:lnTo>
                  <a:lnTo>
                    <a:pt x="798" y="1741"/>
                  </a:lnTo>
                  <a:lnTo>
                    <a:pt x="802" y="1728"/>
                  </a:lnTo>
                  <a:lnTo>
                    <a:pt x="806" y="1717"/>
                  </a:lnTo>
                  <a:lnTo>
                    <a:pt x="812" y="1709"/>
                  </a:lnTo>
                  <a:lnTo>
                    <a:pt x="817" y="1702"/>
                  </a:lnTo>
                  <a:lnTo>
                    <a:pt x="825" y="1699"/>
                  </a:lnTo>
                  <a:lnTo>
                    <a:pt x="832" y="1696"/>
                  </a:lnTo>
                  <a:lnTo>
                    <a:pt x="839" y="1696"/>
                  </a:lnTo>
                  <a:lnTo>
                    <a:pt x="839" y="1696"/>
                  </a:lnTo>
                  <a:lnTo>
                    <a:pt x="846" y="1696"/>
                  </a:lnTo>
                  <a:lnTo>
                    <a:pt x="853" y="1699"/>
                  </a:lnTo>
                  <a:lnTo>
                    <a:pt x="859" y="1701"/>
                  </a:lnTo>
                  <a:lnTo>
                    <a:pt x="864" y="1704"/>
                  </a:lnTo>
                  <a:lnTo>
                    <a:pt x="868" y="1708"/>
                  </a:lnTo>
                  <a:lnTo>
                    <a:pt x="873" y="1711"/>
                  </a:lnTo>
                  <a:lnTo>
                    <a:pt x="878" y="1719"/>
                  </a:lnTo>
                  <a:lnTo>
                    <a:pt x="878" y="1807"/>
                  </a:lnTo>
                  <a:lnTo>
                    <a:pt x="878" y="1807"/>
                  </a:lnTo>
                  <a:lnTo>
                    <a:pt x="872" y="1814"/>
                  </a:lnTo>
                  <a:lnTo>
                    <a:pt x="864" y="1821"/>
                  </a:lnTo>
                  <a:lnTo>
                    <a:pt x="859" y="1824"/>
                  </a:lnTo>
                  <a:lnTo>
                    <a:pt x="853" y="1827"/>
                  </a:lnTo>
                  <a:lnTo>
                    <a:pt x="847" y="1828"/>
                  </a:lnTo>
                  <a:lnTo>
                    <a:pt x="839" y="1829"/>
                  </a:lnTo>
                  <a:lnTo>
                    <a:pt x="839" y="1829"/>
                  </a:lnTo>
                  <a:lnTo>
                    <a:pt x="839" y="1829"/>
                  </a:lnTo>
                  <a:close/>
                  <a:moveTo>
                    <a:pt x="2087" y="1645"/>
                  </a:moveTo>
                  <a:lnTo>
                    <a:pt x="2087" y="1645"/>
                  </a:lnTo>
                  <a:lnTo>
                    <a:pt x="2082" y="1646"/>
                  </a:lnTo>
                  <a:lnTo>
                    <a:pt x="2075" y="1648"/>
                  </a:lnTo>
                  <a:lnTo>
                    <a:pt x="2062" y="1651"/>
                  </a:lnTo>
                  <a:lnTo>
                    <a:pt x="2050" y="1658"/>
                  </a:lnTo>
                  <a:lnTo>
                    <a:pt x="2038" y="1666"/>
                  </a:lnTo>
                  <a:lnTo>
                    <a:pt x="2038" y="1563"/>
                  </a:lnTo>
                  <a:lnTo>
                    <a:pt x="1983" y="1591"/>
                  </a:lnTo>
                  <a:lnTo>
                    <a:pt x="1983" y="1874"/>
                  </a:lnTo>
                  <a:lnTo>
                    <a:pt x="2038" y="1874"/>
                  </a:lnTo>
                  <a:lnTo>
                    <a:pt x="2038" y="1858"/>
                  </a:lnTo>
                  <a:lnTo>
                    <a:pt x="2038" y="1858"/>
                  </a:lnTo>
                  <a:lnTo>
                    <a:pt x="2043" y="1863"/>
                  </a:lnTo>
                  <a:lnTo>
                    <a:pt x="2050" y="1868"/>
                  </a:lnTo>
                  <a:lnTo>
                    <a:pt x="2055" y="1871"/>
                  </a:lnTo>
                  <a:lnTo>
                    <a:pt x="2062" y="1874"/>
                  </a:lnTo>
                  <a:lnTo>
                    <a:pt x="2067" y="1877"/>
                  </a:lnTo>
                  <a:lnTo>
                    <a:pt x="2075" y="1878"/>
                  </a:lnTo>
                  <a:lnTo>
                    <a:pt x="2082" y="1879"/>
                  </a:lnTo>
                  <a:lnTo>
                    <a:pt x="2089" y="1880"/>
                  </a:lnTo>
                  <a:lnTo>
                    <a:pt x="2089" y="1880"/>
                  </a:lnTo>
                  <a:lnTo>
                    <a:pt x="2099" y="1879"/>
                  </a:lnTo>
                  <a:lnTo>
                    <a:pt x="2109" y="1878"/>
                  </a:lnTo>
                  <a:lnTo>
                    <a:pt x="2117" y="1876"/>
                  </a:lnTo>
                  <a:lnTo>
                    <a:pt x="2126" y="1871"/>
                  </a:lnTo>
                  <a:lnTo>
                    <a:pt x="2134" y="1867"/>
                  </a:lnTo>
                  <a:lnTo>
                    <a:pt x="2141" y="1862"/>
                  </a:lnTo>
                  <a:lnTo>
                    <a:pt x="2148" y="1856"/>
                  </a:lnTo>
                  <a:lnTo>
                    <a:pt x="2153" y="1849"/>
                  </a:lnTo>
                  <a:lnTo>
                    <a:pt x="2159" y="1840"/>
                  </a:lnTo>
                  <a:lnTo>
                    <a:pt x="2163" y="1831"/>
                  </a:lnTo>
                  <a:lnTo>
                    <a:pt x="2166" y="1821"/>
                  </a:lnTo>
                  <a:lnTo>
                    <a:pt x="2170" y="1811"/>
                  </a:lnTo>
                  <a:lnTo>
                    <a:pt x="2173" y="1800"/>
                  </a:lnTo>
                  <a:lnTo>
                    <a:pt x="2174" y="1788"/>
                  </a:lnTo>
                  <a:lnTo>
                    <a:pt x="2175" y="1774"/>
                  </a:lnTo>
                  <a:lnTo>
                    <a:pt x="2176" y="1760"/>
                  </a:lnTo>
                  <a:lnTo>
                    <a:pt x="2176" y="1760"/>
                  </a:lnTo>
                  <a:lnTo>
                    <a:pt x="2175" y="1748"/>
                  </a:lnTo>
                  <a:lnTo>
                    <a:pt x="2174" y="1735"/>
                  </a:lnTo>
                  <a:lnTo>
                    <a:pt x="2172" y="1723"/>
                  </a:lnTo>
                  <a:lnTo>
                    <a:pt x="2170" y="1712"/>
                  </a:lnTo>
                  <a:lnTo>
                    <a:pt x="2166" y="1702"/>
                  </a:lnTo>
                  <a:lnTo>
                    <a:pt x="2162" y="1693"/>
                  </a:lnTo>
                  <a:lnTo>
                    <a:pt x="2158" y="1684"/>
                  </a:lnTo>
                  <a:lnTo>
                    <a:pt x="2152" y="1676"/>
                  </a:lnTo>
                  <a:lnTo>
                    <a:pt x="2146" y="1670"/>
                  </a:lnTo>
                  <a:lnTo>
                    <a:pt x="2140" y="1663"/>
                  </a:lnTo>
                  <a:lnTo>
                    <a:pt x="2132" y="1658"/>
                  </a:lnTo>
                  <a:lnTo>
                    <a:pt x="2124" y="1653"/>
                  </a:lnTo>
                  <a:lnTo>
                    <a:pt x="2116" y="1650"/>
                  </a:lnTo>
                  <a:lnTo>
                    <a:pt x="2107" y="1648"/>
                  </a:lnTo>
                  <a:lnTo>
                    <a:pt x="2097" y="1646"/>
                  </a:lnTo>
                  <a:lnTo>
                    <a:pt x="2087" y="1645"/>
                  </a:lnTo>
                  <a:lnTo>
                    <a:pt x="2087" y="1645"/>
                  </a:lnTo>
                  <a:lnTo>
                    <a:pt x="2087" y="1645"/>
                  </a:lnTo>
                  <a:close/>
                  <a:moveTo>
                    <a:pt x="2077" y="1696"/>
                  </a:moveTo>
                  <a:lnTo>
                    <a:pt x="2077" y="1696"/>
                  </a:lnTo>
                  <a:lnTo>
                    <a:pt x="2085" y="1698"/>
                  </a:lnTo>
                  <a:lnTo>
                    <a:pt x="2093" y="1700"/>
                  </a:lnTo>
                  <a:lnTo>
                    <a:pt x="2100" y="1704"/>
                  </a:lnTo>
                  <a:lnTo>
                    <a:pt x="2106" y="1711"/>
                  </a:lnTo>
                  <a:lnTo>
                    <a:pt x="2112" y="1719"/>
                  </a:lnTo>
                  <a:lnTo>
                    <a:pt x="2115" y="1730"/>
                  </a:lnTo>
                  <a:lnTo>
                    <a:pt x="2119" y="1743"/>
                  </a:lnTo>
                  <a:lnTo>
                    <a:pt x="2120" y="1759"/>
                  </a:lnTo>
                  <a:lnTo>
                    <a:pt x="2120" y="1759"/>
                  </a:lnTo>
                  <a:lnTo>
                    <a:pt x="2119" y="1775"/>
                  </a:lnTo>
                  <a:lnTo>
                    <a:pt x="2116" y="1790"/>
                  </a:lnTo>
                  <a:lnTo>
                    <a:pt x="2114" y="1801"/>
                  </a:lnTo>
                  <a:lnTo>
                    <a:pt x="2110" y="1811"/>
                  </a:lnTo>
                  <a:lnTo>
                    <a:pt x="2103" y="1819"/>
                  </a:lnTo>
                  <a:lnTo>
                    <a:pt x="2096" y="1824"/>
                  </a:lnTo>
                  <a:lnTo>
                    <a:pt x="2089" y="1828"/>
                  </a:lnTo>
                  <a:lnTo>
                    <a:pt x="2079" y="1829"/>
                  </a:lnTo>
                  <a:lnTo>
                    <a:pt x="2079" y="1829"/>
                  </a:lnTo>
                  <a:lnTo>
                    <a:pt x="2071" y="1828"/>
                  </a:lnTo>
                  <a:lnTo>
                    <a:pt x="2064" y="1827"/>
                  </a:lnTo>
                  <a:lnTo>
                    <a:pt x="2058" y="1823"/>
                  </a:lnTo>
                  <a:lnTo>
                    <a:pt x="2053" y="1821"/>
                  </a:lnTo>
                  <a:lnTo>
                    <a:pt x="2044" y="1813"/>
                  </a:lnTo>
                  <a:lnTo>
                    <a:pt x="2038" y="1808"/>
                  </a:lnTo>
                  <a:lnTo>
                    <a:pt x="2038" y="1719"/>
                  </a:lnTo>
                  <a:lnTo>
                    <a:pt x="2038" y="1719"/>
                  </a:lnTo>
                  <a:lnTo>
                    <a:pt x="2042" y="1714"/>
                  </a:lnTo>
                  <a:lnTo>
                    <a:pt x="2046" y="1710"/>
                  </a:lnTo>
                  <a:lnTo>
                    <a:pt x="2051" y="1705"/>
                  </a:lnTo>
                  <a:lnTo>
                    <a:pt x="2055" y="1702"/>
                  </a:lnTo>
                  <a:lnTo>
                    <a:pt x="2061" y="1700"/>
                  </a:lnTo>
                  <a:lnTo>
                    <a:pt x="2066" y="1698"/>
                  </a:lnTo>
                  <a:lnTo>
                    <a:pt x="2072" y="1696"/>
                  </a:lnTo>
                  <a:lnTo>
                    <a:pt x="2077" y="1696"/>
                  </a:lnTo>
                  <a:lnTo>
                    <a:pt x="2077" y="1696"/>
                  </a:lnTo>
                  <a:lnTo>
                    <a:pt x="2077" y="1696"/>
                  </a:lnTo>
                  <a:close/>
                  <a:moveTo>
                    <a:pt x="1457" y="1666"/>
                  </a:moveTo>
                  <a:lnTo>
                    <a:pt x="1457" y="1666"/>
                  </a:lnTo>
                  <a:lnTo>
                    <a:pt x="1453" y="1662"/>
                  </a:lnTo>
                  <a:lnTo>
                    <a:pt x="1447" y="1658"/>
                  </a:lnTo>
                  <a:lnTo>
                    <a:pt x="1441" y="1654"/>
                  </a:lnTo>
                  <a:lnTo>
                    <a:pt x="1435" y="1651"/>
                  </a:lnTo>
                  <a:lnTo>
                    <a:pt x="1428" y="1649"/>
                  </a:lnTo>
                  <a:lnTo>
                    <a:pt x="1422" y="1646"/>
                  </a:lnTo>
                  <a:lnTo>
                    <a:pt x="1415" y="1646"/>
                  </a:lnTo>
                  <a:lnTo>
                    <a:pt x="1408" y="1645"/>
                  </a:lnTo>
                  <a:lnTo>
                    <a:pt x="1408" y="1645"/>
                  </a:lnTo>
                  <a:lnTo>
                    <a:pt x="1398" y="1646"/>
                  </a:lnTo>
                  <a:lnTo>
                    <a:pt x="1388" y="1648"/>
                  </a:lnTo>
                  <a:lnTo>
                    <a:pt x="1379" y="1650"/>
                  </a:lnTo>
                  <a:lnTo>
                    <a:pt x="1372" y="1653"/>
                  </a:lnTo>
                  <a:lnTo>
                    <a:pt x="1364" y="1658"/>
                  </a:lnTo>
                  <a:lnTo>
                    <a:pt x="1356" y="1663"/>
                  </a:lnTo>
                  <a:lnTo>
                    <a:pt x="1349" y="1670"/>
                  </a:lnTo>
                  <a:lnTo>
                    <a:pt x="1344" y="1676"/>
                  </a:lnTo>
                  <a:lnTo>
                    <a:pt x="1338" y="1684"/>
                  </a:lnTo>
                  <a:lnTo>
                    <a:pt x="1334" y="1693"/>
                  </a:lnTo>
                  <a:lnTo>
                    <a:pt x="1329" y="1702"/>
                  </a:lnTo>
                  <a:lnTo>
                    <a:pt x="1326" y="1712"/>
                  </a:lnTo>
                  <a:lnTo>
                    <a:pt x="1324" y="1723"/>
                  </a:lnTo>
                  <a:lnTo>
                    <a:pt x="1321" y="1735"/>
                  </a:lnTo>
                  <a:lnTo>
                    <a:pt x="1320" y="1748"/>
                  </a:lnTo>
                  <a:lnTo>
                    <a:pt x="1320" y="1760"/>
                  </a:lnTo>
                  <a:lnTo>
                    <a:pt x="1320" y="1760"/>
                  </a:lnTo>
                  <a:lnTo>
                    <a:pt x="1320" y="1774"/>
                  </a:lnTo>
                  <a:lnTo>
                    <a:pt x="1321" y="1787"/>
                  </a:lnTo>
                  <a:lnTo>
                    <a:pt x="1324" y="1799"/>
                  </a:lnTo>
                  <a:lnTo>
                    <a:pt x="1326" y="1810"/>
                  </a:lnTo>
                  <a:lnTo>
                    <a:pt x="1329" y="1821"/>
                  </a:lnTo>
                  <a:lnTo>
                    <a:pt x="1333" y="1831"/>
                  </a:lnTo>
                  <a:lnTo>
                    <a:pt x="1338" y="1840"/>
                  </a:lnTo>
                  <a:lnTo>
                    <a:pt x="1343" y="1848"/>
                  </a:lnTo>
                  <a:lnTo>
                    <a:pt x="1349" y="1856"/>
                  </a:lnTo>
                  <a:lnTo>
                    <a:pt x="1355" y="1861"/>
                  </a:lnTo>
                  <a:lnTo>
                    <a:pt x="1363" y="1867"/>
                  </a:lnTo>
                  <a:lnTo>
                    <a:pt x="1370" y="1871"/>
                  </a:lnTo>
                  <a:lnTo>
                    <a:pt x="1378" y="1874"/>
                  </a:lnTo>
                  <a:lnTo>
                    <a:pt x="1387" y="1878"/>
                  </a:lnTo>
                  <a:lnTo>
                    <a:pt x="1397" y="1879"/>
                  </a:lnTo>
                  <a:lnTo>
                    <a:pt x="1407" y="1879"/>
                  </a:lnTo>
                  <a:lnTo>
                    <a:pt x="1407" y="1879"/>
                  </a:lnTo>
                  <a:lnTo>
                    <a:pt x="1414" y="1879"/>
                  </a:lnTo>
                  <a:lnTo>
                    <a:pt x="1421" y="1878"/>
                  </a:lnTo>
                  <a:lnTo>
                    <a:pt x="1427" y="1877"/>
                  </a:lnTo>
                  <a:lnTo>
                    <a:pt x="1434" y="1874"/>
                  </a:lnTo>
                  <a:lnTo>
                    <a:pt x="1441" y="1871"/>
                  </a:lnTo>
                  <a:lnTo>
                    <a:pt x="1446" y="1867"/>
                  </a:lnTo>
                  <a:lnTo>
                    <a:pt x="1452" y="1863"/>
                  </a:lnTo>
                  <a:lnTo>
                    <a:pt x="1457" y="1858"/>
                  </a:lnTo>
                  <a:lnTo>
                    <a:pt x="1457" y="1863"/>
                  </a:lnTo>
                  <a:lnTo>
                    <a:pt x="1457" y="1863"/>
                  </a:lnTo>
                  <a:lnTo>
                    <a:pt x="1457" y="1872"/>
                  </a:lnTo>
                  <a:lnTo>
                    <a:pt x="1456" y="1882"/>
                  </a:lnTo>
                  <a:lnTo>
                    <a:pt x="1454" y="1892"/>
                  </a:lnTo>
                  <a:lnTo>
                    <a:pt x="1452" y="1897"/>
                  </a:lnTo>
                  <a:lnTo>
                    <a:pt x="1448" y="1901"/>
                  </a:lnTo>
                  <a:lnTo>
                    <a:pt x="1445" y="1906"/>
                  </a:lnTo>
                  <a:lnTo>
                    <a:pt x="1441" y="1910"/>
                  </a:lnTo>
                  <a:lnTo>
                    <a:pt x="1434" y="1913"/>
                  </a:lnTo>
                  <a:lnTo>
                    <a:pt x="1427" y="1916"/>
                  </a:lnTo>
                  <a:lnTo>
                    <a:pt x="1419" y="1919"/>
                  </a:lnTo>
                  <a:lnTo>
                    <a:pt x="1409" y="1920"/>
                  </a:lnTo>
                  <a:lnTo>
                    <a:pt x="1398" y="1922"/>
                  </a:lnTo>
                  <a:lnTo>
                    <a:pt x="1386" y="1922"/>
                  </a:lnTo>
                  <a:lnTo>
                    <a:pt x="1384" y="1922"/>
                  </a:lnTo>
                  <a:lnTo>
                    <a:pt x="1403" y="1966"/>
                  </a:lnTo>
                  <a:lnTo>
                    <a:pt x="1404" y="1966"/>
                  </a:lnTo>
                  <a:lnTo>
                    <a:pt x="1404" y="1966"/>
                  </a:lnTo>
                  <a:lnTo>
                    <a:pt x="1417" y="1966"/>
                  </a:lnTo>
                  <a:lnTo>
                    <a:pt x="1429" y="1963"/>
                  </a:lnTo>
                  <a:lnTo>
                    <a:pt x="1442" y="1961"/>
                  </a:lnTo>
                  <a:lnTo>
                    <a:pt x="1452" y="1958"/>
                  </a:lnTo>
                  <a:lnTo>
                    <a:pt x="1462" y="1954"/>
                  </a:lnTo>
                  <a:lnTo>
                    <a:pt x="1471" y="1950"/>
                  </a:lnTo>
                  <a:lnTo>
                    <a:pt x="1478" y="1943"/>
                  </a:lnTo>
                  <a:lnTo>
                    <a:pt x="1486" y="1938"/>
                  </a:lnTo>
                  <a:lnTo>
                    <a:pt x="1493" y="1930"/>
                  </a:lnTo>
                  <a:lnTo>
                    <a:pt x="1497" y="1921"/>
                  </a:lnTo>
                  <a:lnTo>
                    <a:pt x="1503" y="1912"/>
                  </a:lnTo>
                  <a:lnTo>
                    <a:pt x="1506" y="1902"/>
                  </a:lnTo>
                  <a:lnTo>
                    <a:pt x="1510" y="1891"/>
                  </a:lnTo>
                  <a:lnTo>
                    <a:pt x="1512" y="1880"/>
                  </a:lnTo>
                  <a:lnTo>
                    <a:pt x="1513" y="1868"/>
                  </a:lnTo>
                  <a:lnTo>
                    <a:pt x="1513" y="1853"/>
                  </a:lnTo>
                  <a:lnTo>
                    <a:pt x="1513" y="1651"/>
                  </a:lnTo>
                  <a:lnTo>
                    <a:pt x="1457" y="1651"/>
                  </a:lnTo>
                  <a:lnTo>
                    <a:pt x="1457" y="1666"/>
                  </a:lnTo>
                  <a:lnTo>
                    <a:pt x="1457" y="1666"/>
                  </a:lnTo>
                  <a:close/>
                  <a:moveTo>
                    <a:pt x="1457" y="1719"/>
                  </a:moveTo>
                  <a:lnTo>
                    <a:pt x="1457" y="1807"/>
                  </a:lnTo>
                  <a:lnTo>
                    <a:pt x="1457" y="1807"/>
                  </a:lnTo>
                  <a:lnTo>
                    <a:pt x="1451" y="1814"/>
                  </a:lnTo>
                  <a:lnTo>
                    <a:pt x="1442" y="1822"/>
                  </a:lnTo>
                  <a:lnTo>
                    <a:pt x="1437" y="1824"/>
                  </a:lnTo>
                  <a:lnTo>
                    <a:pt x="1432" y="1827"/>
                  </a:lnTo>
                  <a:lnTo>
                    <a:pt x="1425" y="1828"/>
                  </a:lnTo>
                  <a:lnTo>
                    <a:pt x="1418" y="1829"/>
                  </a:lnTo>
                  <a:lnTo>
                    <a:pt x="1418" y="1829"/>
                  </a:lnTo>
                  <a:lnTo>
                    <a:pt x="1411" y="1828"/>
                  </a:lnTo>
                  <a:lnTo>
                    <a:pt x="1404" y="1825"/>
                  </a:lnTo>
                  <a:lnTo>
                    <a:pt x="1396" y="1821"/>
                  </a:lnTo>
                  <a:lnTo>
                    <a:pt x="1391" y="1815"/>
                  </a:lnTo>
                  <a:lnTo>
                    <a:pt x="1385" y="1807"/>
                  </a:lnTo>
                  <a:lnTo>
                    <a:pt x="1380" y="1794"/>
                  </a:lnTo>
                  <a:lnTo>
                    <a:pt x="1377" y="1779"/>
                  </a:lnTo>
                  <a:lnTo>
                    <a:pt x="1376" y="1759"/>
                  </a:lnTo>
                  <a:lnTo>
                    <a:pt x="1376" y="1759"/>
                  </a:lnTo>
                  <a:lnTo>
                    <a:pt x="1377" y="1741"/>
                  </a:lnTo>
                  <a:lnTo>
                    <a:pt x="1380" y="1728"/>
                  </a:lnTo>
                  <a:lnTo>
                    <a:pt x="1385" y="1717"/>
                  </a:lnTo>
                  <a:lnTo>
                    <a:pt x="1391" y="1709"/>
                  </a:lnTo>
                  <a:lnTo>
                    <a:pt x="1396" y="1702"/>
                  </a:lnTo>
                  <a:lnTo>
                    <a:pt x="1404" y="1699"/>
                  </a:lnTo>
                  <a:lnTo>
                    <a:pt x="1411" y="1696"/>
                  </a:lnTo>
                  <a:lnTo>
                    <a:pt x="1418" y="1696"/>
                  </a:lnTo>
                  <a:lnTo>
                    <a:pt x="1418" y="1696"/>
                  </a:lnTo>
                  <a:lnTo>
                    <a:pt x="1425" y="1696"/>
                  </a:lnTo>
                  <a:lnTo>
                    <a:pt x="1432" y="1699"/>
                  </a:lnTo>
                  <a:lnTo>
                    <a:pt x="1438" y="1701"/>
                  </a:lnTo>
                  <a:lnTo>
                    <a:pt x="1443" y="1703"/>
                  </a:lnTo>
                  <a:lnTo>
                    <a:pt x="1447" y="1708"/>
                  </a:lnTo>
                  <a:lnTo>
                    <a:pt x="1452" y="1711"/>
                  </a:lnTo>
                  <a:lnTo>
                    <a:pt x="1457" y="1719"/>
                  </a:lnTo>
                  <a:lnTo>
                    <a:pt x="1457" y="1719"/>
                  </a:lnTo>
                  <a:lnTo>
                    <a:pt x="1457" y="1719"/>
                  </a:lnTo>
                  <a:close/>
                  <a:moveTo>
                    <a:pt x="1686" y="1705"/>
                  </a:moveTo>
                  <a:lnTo>
                    <a:pt x="1686" y="1705"/>
                  </a:lnTo>
                  <a:lnTo>
                    <a:pt x="1699" y="1699"/>
                  </a:lnTo>
                  <a:lnTo>
                    <a:pt x="1712" y="1694"/>
                  </a:lnTo>
                  <a:lnTo>
                    <a:pt x="1727" y="1691"/>
                  </a:lnTo>
                  <a:lnTo>
                    <a:pt x="1742" y="1690"/>
                  </a:lnTo>
                  <a:lnTo>
                    <a:pt x="1742" y="1690"/>
                  </a:lnTo>
                  <a:lnTo>
                    <a:pt x="1752" y="1691"/>
                  </a:lnTo>
                  <a:lnTo>
                    <a:pt x="1760" y="1692"/>
                  </a:lnTo>
                  <a:lnTo>
                    <a:pt x="1767" y="1694"/>
                  </a:lnTo>
                  <a:lnTo>
                    <a:pt x="1772" y="1699"/>
                  </a:lnTo>
                  <a:lnTo>
                    <a:pt x="1777" y="1703"/>
                  </a:lnTo>
                  <a:lnTo>
                    <a:pt x="1780" y="1709"/>
                  </a:lnTo>
                  <a:lnTo>
                    <a:pt x="1782" y="1714"/>
                  </a:lnTo>
                  <a:lnTo>
                    <a:pt x="1782" y="1722"/>
                  </a:lnTo>
                  <a:lnTo>
                    <a:pt x="1782" y="1738"/>
                  </a:lnTo>
                  <a:lnTo>
                    <a:pt x="1782" y="1738"/>
                  </a:lnTo>
                  <a:lnTo>
                    <a:pt x="1772" y="1733"/>
                  </a:lnTo>
                  <a:lnTo>
                    <a:pt x="1760" y="1730"/>
                  </a:lnTo>
                  <a:lnTo>
                    <a:pt x="1748" y="1728"/>
                  </a:lnTo>
                  <a:lnTo>
                    <a:pt x="1735" y="1727"/>
                  </a:lnTo>
                  <a:lnTo>
                    <a:pt x="1735" y="1727"/>
                  </a:lnTo>
                  <a:lnTo>
                    <a:pt x="1719" y="1728"/>
                  </a:lnTo>
                  <a:lnTo>
                    <a:pt x="1703" y="1731"/>
                  </a:lnTo>
                  <a:lnTo>
                    <a:pt x="1689" y="1735"/>
                  </a:lnTo>
                  <a:lnTo>
                    <a:pt x="1681" y="1739"/>
                  </a:lnTo>
                  <a:lnTo>
                    <a:pt x="1674" y="1743"/>
                  </a:lnTo>
                  <a:lnTo>
                    <a:pt x="1669" y="1748"/>
                  </a:lnTo>
                  <a:lnTo>
                    <a:pt x="1663" y="1753"/>
                  </a:lnTo>
                  <a:lnTo>
                    <a:pt x="1658" y="1759"/>
                  </a:lnTo>
                  <a:lnTo>
                    <a:pt x="1653" y="1765"/>
                  </a:lnTo>
                  <a:lnTo>
                    <a:pt x="1650" y="1773"/>
                  </a:lnTo>
                  <a:lnTo>
                    <a:pt x="1648" y="1782"/>
                  </a:lnTo>
                  <a:lnTo>
                    <a:pt x="1647" y="1791"/>
                  </a:lnTo>
                  <a:lnTo>
                    <a:pt x="1645" y="1800"/>
                  </a:lnTo>
                  <a:lnTo>
                    <a:pt x="1645" y="1800"/>
                  </a:lnTo>
                  <a:lnTo>
                    <a:pt x="1647" y="1811"/>
                  </a:lnTo>
                  <a:lnTo>
                    <a:pt x="1648" y="1821"/>
                  </a:lnTo>
                  <a:lnTo>
                    <a:pt x="1650" y="1829"/>
                  </a:lnTo>
                  <a:lnTo>
                    <a:pt x="1653" y="1838"/>
                  </a:lnTo>
                  <a:lnTo>
                    <a:pt x="1657" y="1844"/>
                  </a:lnTo>
                  <a:lnTo>
                    <a:pt x="1662" y="1851"/>
                  </a:lnTo>
                  <a:lnTo>
                    <a:pt x="1667" y="1857"/>
                  </a:lnTo>
                  <a:lnTo>
                    <a:pt x="1673" y="1862"/>
                  </a:lnTo>
                  <a:lnTo>
                    <a:pt x="1679" y="1867"/>
                  </a:lnTo>
                  <a:lnTo>
                    <a:pt x="1686" y="1870"/>
                  </a:lnTo>
                  <a:lnTo>
                    <a:pt x="1700" y="1876"/>
                  </a:lnTo>
                  <a:lnTo>
                    <a:pt x="1714" y="1879"/>
                  </a:lnTo>
                  <a:lnTo>
                    <a:pt x="1729" y="1880"/>
                  </a:lnTo>
                  <a:lnTo>
                    <a:pt x="1729" y="1880"/>
                  </a:lnTo>
                  <a:lnTo>
                    <a:pt x="1741" y="1878"/>
                  </a:lnTo>
                  <a:lnTo>
                    <a:pt x="1749" y="1877"/>
                  </a:lnTo>
                  <a:lnTo>
                    <a:pt x="1756" y="1874"/>
                  </a:lnTo>
                  <a:lnTo>
                    <a:pt x="1763" y="1871"/>
                  </a:lnTo>
                  <a:lnTo>
                    <a:pt x="1770" y="1867"/>
                  </a:lnTo>
                  <a:lnTo>
                    <a:pt x="1777" y="1862"/>
                  </a:lnTo>
                  <a:lnTo>
                    <a:pt x="1782" y="1857"/>
                  </a:lnTo>
                  <a:lnTo>
                    <a:pt x="1782" y="1874"/>
                  </a:lnTo>
                  <a:lnTo>
                    <a:pt x="1838" y="1874"/>
                  </a:lnTo>
                  <a:lnTo>
                    <a:pt x="1838" y="1723"/>
                  </a:lnTo>
                  <a:lnTo>
                    <a:pt x="1838" y="1723"/>
                  </a:lnTo>
                  <a:lnTo>
                    <a:pt x="1838" y="1714"/>
                  </a:lnTo>
                  <a:lnTo>
                    <a:pt x="1837" y="1707"/>
                  </a:lnTo>
                  <a:lnTo>
                    <a:pt x="1835" y="1699"/>
                  </a:lnTo>
                  <a:lnTo>
                    <a:pt x="1832" y="1691"/>
                  </a:lnTo>
                  <a:lnTo>
                    <a:pt x="1828" y="1684"/>
                  </a:lnTo>
                  <a:lnTo>
                    <a:pt x="1825" y="1678"/>
                  </a:lnTo>
                  <a:lnTo>
                    <a:pt x="1819" y="1672"/>
                  </a:lnTo>
                  <a:lnTo>
                    <a:pt x="1814" y="1666"/>
                  </a:lnTo>
                  <a:lnTo>
                    <a:pt x="1808" y="1662"/>
                  </a:lnTo>
                  <a:lnTo>
                    <a:pt x="1801" y="1658"/>
                  </a:lnTo>
                  <a:lnTo>
                    <a:pt x="1794" y="1654"/>
                  </a:lnTo>
                  <a:lnTo>
                    <a:pt x="1786" y="1651"/>
                  </a:lnTo>
                  <a:lnTo>
                    <a:pt x="1777" y="1649"/>
                  </a:lnTo>
                  <a:lnTo>
                    <a:pt x="1768" y="1648"/>
                  </a:lnTo>
                  <a:lnTo>
                    <a:pt x="1758" y="1646"/>
                  </a:lnTo>
                  <a:lnTo>
                    <a:pt x="1748" y="1645"/>
                  </a:lnTo>
                  <a:lnTo>
                    <a:pt x="1748" y="1645"/>
                  </a:lnTo>
                  <a:lnTo>
                    <a:pt x="1736" y="1646"/>
                  </a:lnTo>
                  <a:lnTo>
                    <a:pt x="1726" y="1646"/>
                  </a:lnTo>
                  <a:lnTo>
                    <a:pt x="1714" y="1649"/>
                  </a:lnTo>
                  <a:lnTo>
                    <a:pt x="1703" y="1651"/>
                  </a:lnTo>
                  <a:lnTo>
                    <a:pt x="1693" y="1654"/>
                  </a:lnTo>
                  <a:lnTo>
                    <a:pt x="1683" y="1658"/>
                  </a:lnTo>
                  <a:lnTo>
                    <a:pt x="1673" y="1662"/>
                  </a:lnTo>
                  <a:lnTo>
                    <a:pt x="1663" y="1668"/>
                  </a:lnTo>
                  <a:lnTo>
                    <a:pt x="1686" y="1705"/>
                  </a:lnTo>
                  <a:lnTo>
                    <a:pt x="1686" y="1705"/>
                  </a:lnTo>
                  <a:close/>
                  <a:moveTo>
                    <a:pt x="1701" y="1800"/>
                  </a:moveTo>
                  <a:lnTo>
                    <a:pt x="1701" y="1800"/>
                  </a:lnTo>
                  <a:lnTo>
                    <a:pt x="1701" y="1793"/>
                  </a:lnTo>
                  <a:lnTo>
                    <a:pt x="1703" y="1787"/>
                  </a:lnTo>
                  <a:lnTo>
                    <a:pt x="1707" y="1781"/>
                  </a:lnTo>
                  <a:lnTo>
                    <a:pt x="1711" y="1777"/>
                  </a:lnTo>
                  <a:lnTo>
                    <a:pt x="1717" y="1773"/>
                  </a:lnTo>
                  <a:lnTo>
                    <a:pt x="1723" y="1771"/>
                  </a:lnTo>
                  <a:lnTo>
                    <a:pt x="1731" y="1769"/>
                  </a:lnTo>
                  <a:lnTo>
                    <a:pt x="1739" y="1769"/>
                  </a:lnTo>
                  <a:lnTo>
                    <a:pt x="1739" y="1769"/>
                  </a:lnTo>
                  <a:lnTo>
                    <a:pt x="1751" y="1769"/>
                  </a:lnTo>
                  <a:lnTo>
                    <a:pt x="1762" y="1771"/>
                  </a:lnTo>
                  <a:lnTo>
                    <a:pt x="1772" y="1774"/>
                  </a:lnTo>
                  <a:lnTo>
                    <a:pt x="1782" y="1780"/>
                  </a:lnTo>
                  <a:lnTo>
                    <a:pt x="1782" y="1810"/>
                  </a:lnTo>
                  <a:lnTo>
                    <a:pt x="1782" y="1810"/>
                  </a:lnTo>
                  <a:lnTo>
                    <a:pt x="1780" y="1814"/>
                  </a:lnTo>
                  <a:lnTo>
                    <a:pt x="1776" y="1819"/>
                  </a:lnTo>
                  <a:lnTo>
                    <a:pt x="1771" y="1823"/>
                  </a:lnTo>
                  <a:lnTo>
                    <a:pt x="1766" y="1827"/>
                  </a:lnTo>
                  <a:lnTo>
                    <a:pt x="1760" y="1830"/>
                  </a:lnTo>
                  <a:lnTo>
                    <a:pt x="1753" y="1832"/>
                  </a:lnTo>
                  <a:lnTo>
                    <a:pt x="1747" y="1833"/>
                  </a:lnTo>
                  <a:lnTo>
                    <a:pt x="1739" y="1834"/>
                  </a:lnTo>
                  <a:lnTo>
                    <a:pt x="1739" y="1834"/>
                  </a:lnTo>
                  <a:lnTo>
                    <a:pt x="1731" y="1833"/>
                  </a:lnTo>
                  <a:lnTo>
                    <a:pt x="1723" y="1831"/>
                  </a:lnTo>
                  <a:lnTo>
                    <a:pt x="1717" y="1829"/>
                  </a:lnTo>
                  <a:lnTo>
                    <a:pt x="1711" y="1824"/>
                  </a:lnTo>
                  <a:lnTo>
                    <a:pt x="1707" y="1820"/>
                  </a:lnTo>
                  <a:lnTo>
                    <a:pt x="1703" y="1814"/>
                  </a:lnTo>
                  <a:lnTo>
                    <a:pt x="1702" y="1808"/>
                  </a:lnTo>
                  <a:lnTo>
                    <a:pt x="1701" y="1800"/>
                  </a:lnTo>
                  <a:lnTo>
                    <a:pt x="1701" y="1800"/>
                  </a:lnTo>
                  <a:lnTo>
                    <a:pt x="1701" y="1800"/>
                  </a:lnTo>
                  <a:close/>
                  <a:moveTo>
                    <a:pt x="2354" y="1810"/>
                  </a:moveTo>
                  <a:lnTo>
                    <a:pt x="2354" y="1810"/>
                  </a:lnTo>
                  <a:lnTo>
                    <a:pt x="2346" y="1817"/>
                  </a:lnTo>
                  <a:lnTo>
                    <a:pt x="2336" y="1822"/>
                  </a:lnTo>
                  <a:lnTo>
                    <a:pt x="2330" y="1824"/>
                  </a:lnTo>
                  <a:lnTo>
                    <a:pt x="2323" y="1827"/>
                  </a:lnTo>
                  <a:lnTo>
                    <a:pt x="2317" y="1828"/>
                  </a:lnTo>
                  <a:lnTo>
                    <a:pt x="2310" y="1829"/>
                  </a:lnTo>
                  <a:lnTo>
                    <a:pt x="2310" y="1829"/>
                  </a:lnTo>
                  <a:lnTo>
                    <a:pt x="2305" y="1828"/>
                  </a:lnTo>
                  <a:lnTo>
                    <a:pt x="2298" y="1828"/>
                  </a:lnTo>
                  <a:lnTo>
                    <a:pt x="2290" y="1825"/>
                  </a:lnTo>
                  <a:lnTo>
                    <a:pt x="2281" y="1821"/>
                  </a:lnTo>
                  <a:lnTo>
                    <a:pt x="2273" y="1815"/>
                  </a:lnTo>
                  <a:lnTo>
                    <a:pt x="2270" y="1811"/>
                  </a:lnTo>
                  <a:lnTo>
                    <a:pt x="2267" y="1807"/>
                  </a:lnTo>
                  <a:lnTo>
                    <a:pt x="2264" y="1801"/>
                  </a:lnTo>
                  <a:lnTo>
                    <a:pt x="2262" y="1794"/>
                  </a:lnTo>
                  <a:lnTo>
                    <a:pt x="2261" y="1788"/>
                  </a:lnTo>
                  <a:lnTo>
                    <a:pt x="2260" y="1780"/>
                  </a:lnTo>
                  <a:lnTo>
                    <a:pt x="2397" y="1780"/>
                  </a:lnTo>
                  <a:lnTo>
                    <a:pt x="2397" y="1780"/>
                  </a:lnTo>
                  <a:lnTo>
                    <a:pt x="2398" y="1763"/>
                  </a:lnTo>
                  <a:lnTo>
                    <a:pt x="2398" y="1763"/>
                  </a:lnTo>
                  <a:lnTo>
                    <a:pt x="2398" y="1750"/>
                  </a:lnTo>
                  <a:lnTo>
                    <a:pt x="2396" y="1738"/>
                  </a:lnTo>
                  <a:lnTo>
                    <a:pt x="2395" y="1725"/>
                  </a:lnTo>
                  <a:lnTo>
                    <a:pt x="2391" y="1714"/>
                  </a:lnTo>
                  <a:lnTo>
                    <a:pt x="2388" y="1704"/>
                  </a:lnTo>
                  <a:lnTo>
                    <a:pt x="2384" y="1694"/>
                  </a:lnTo>
                  <a:lnTo>
                    <a:pt x="2378" y="1685"/>
                  </a:lnTo>
                  <a:lnTo>
                    <a:pt x="2372" y="1678"/>
                  </a:lnTo>
                  <a:lnTo>
                    <a:pt x="2366" y="1670"/>
                  </a:lnTo>
                  <a:lnTo>
                    <a:pt x="2359" y="1664"/>
                  </a:lnTo>
                  <a:lnTo>
                    <a:pt x="2351" y="1659"/>
                  </a:lnTo>
                  <a:lnTo>
                    <a:pt x="2342" y="1654"/>
                  </a:lnTo>
                  <a:lnTo>
                    <a:pt x="2333" y="1651"/>
                  </a:lnTo>
                  <a:lnTo>
                    <a:pt x="2325" y="1648"/>
                  </a:lnTo>
                  <a:lnTo>
                    <a:pt x="2315" y="1646"/>
                  </a:lnTo>
                  <a:lnTo>
                    <a:pt x="2303" y="1645"/>
                  </a:lnTo>
                  <a:lnTo>
                    <a:pt x="2303" y="1645"/>
                  </a:lnTo>
                  <a:lnTo>
                    <a:pt x="2293" y="1646"/>
                  </a:lnTo>
                  <a:lnTo>
                    <a:pt x="2283" y="1648"/>
                  </a:lnTo>
                  <a:lnTo>
                    <a:pt x="2273" y="1651"/>
                  </a:lnTo>
                  <a:lnTo>
                    <a:pt x="2263" y="1654"/>
                  </a:lnTo>
                  <a:lnTo>
                    <a:pt x="2254" y="1659"/>
                  </a:lnTo>
                  <a:lnTo>
                    <a:pt x="2247" y="1665"/>
                  </a:lnTo>
                  <a:lnTo>
                    <a:pt x="2239" y="1671"/>
                  </a:lnTo>
                  <a:lnTo>
                    <a:pt x="2232" y="1679"/>
                  </a:lnTo>
                  <a:lnTo>
                    <a:pt x="2225" y="1686"/>
                  </a:lnTo>
                  <a:lnTo>
                    <a:pt x="2220" y="1695"/>
                  </a:lnTo>
                  <a:lnTo>
                    <a:pt x="2215" y="1705"/>
                  </a:lnTo>
                  <a:lnTo>
                    <a:pt x="2211" y="1715"/>
                  </a:lnTo>
                  <a:lnTo>
                    <a:pt x="2208" y="1727"/>
                  </a:lnTo>
                  <a:lnTo>
                    <a:pt x="2205" y="1739"/>
                  </a:lnTo>
                  <a:lnTo>
                    <a:pt x="2204" y="1750"/>
                  </a:lnTo>
                  <a:lnTo>
                    <a:pt x="2203" y="1763"/>
                  </a:lnTo>
                  <a:lnTo>
                    <a:pt x="2203" y="1763"/>
                  </a:lnTo>
                  <a:lnTo>
                    <a:pt x="2204" y="1775"/>
                  </a:lnTo>
                  <a:lnTo>
                    <a:pt x="2205" y="1788"/>
                  </a:lnTo>
                  <a:lnTo>
                    <a:pt x="2208" y="1800"/>
                  </a:lnTo>
                  <a:lnTo>
                    <a:pt x="2211" y="1811"/>
                  </a:lnTo>
                  <a:lnTo>
                    <a:pt x="2215" y="1821"/>
                  </a:lnTo>
                  <a:lnTo>
                    <a:pt x="2220" y="1831"/>
                  </a:lnTo>
                  <a:lnTo>
                    <a:pt x="2225" y="1840"/>
                  </a:lnTo>
                  <a:lnTo>
                    <a:pt x="2232" y="1848"/>
                  </a:lnTo>
                  <a:lnTo>
                    <a:pt x="2240" y="1854"/>
                  </a:lnTo>
                  <a:lnTo>
                    <a:pt x="2248" y="1861"/>
                  </a:lnTo>
                  <a:lnTo>
                    <a:pt x="2257" y="1867"/>
                  </a:lnTo>
                  <a:lnTo>
                    <a:pt x="2266" y="1871"/>
                  </a:lnTo>
                  <a:lnTo>
                    <a:pt x="2276" y="1874"/>
                  </a:lnTo>
                  <a:lnTo>
                    <a:pt x="2287" y="1878"/>
                  </a:lnTo>
                  <a:lnTo>
                    <a:pt x="2298" y="1879"/>
                  </a:lnTo>
                  <a:lnTo>
                    <a:pt x="2310" y="1880"/>
                  </a:lnTo>
                  <a:lnTo>
                    <a:pt x="2310" y="1880"/>
                  </a:lnTo>
                  <a:lnTo>
                    <a:pt x="2321" y="1879"/>
                  </a:lnTo>
                  <a:lnTo>
                    <a:pt x="2331" y="1878"/>
                  </a:lnTo>
                  <a:lnTo>
                    <a:pt x="2342" y="1874"/>
                  </a:lnTo>
                  <a:lnTo>
                    <a:pt x="2352" y="1871"/>
                  </a:lnTo>
                  <a:lnTo>
                    <a:pt x="2362" y="1866"/>
                  </a:lnTo>
                  <a:lnTo>
                    <a:pt x="2371" y="1860"/>
                  </a:lnTo>
                  <a:lnTo>
                    <a:pt x="2380" y="1852"/>
                  </a:lnTo>
                  <a:lnTo>
                    <a:pt x="2389" y="1844"/>
                  </a:lnTo>
                  <a:lnTo>
                    <a:pt x="2354" y="1810"/>
                  </a:lnTo>
                  <a:lnTo>
                    <a:pt x="2354" y="1810"/>
                  </a:lnTo>
                  <a:close/>
                  <a:moveTo>
                    <a:pt x="2261" y="1739"/>
                  </a:moveTo>
                  <a:lnTo>
                    <a:pt x="2261" y="1739"/>
                  </a:lnTo>
                  <a:lnTo>
                    <a:pt x="2262" y="1729"/>
                  </a:lnTo>
                  <a:lnTo>
                    <a:pt x="2264" y="1720"/>
                  </a:lnTo>
                  <a:lnTo>
                    <a:pt x="2268" y="1712"/>
                  </a:lnTo>
                  <a:lnTo>
                    <a:pt x="2273" y="1705"/>
                  </a:lnTo>
                  <a:lnTo>
                    <a:pt x="2279" y="1700"/>
                  </a:lnTo>
                  <a:lnTo>
                    <a:pt x="2286" y="1696"/>
                  </a:lnTo>
                  <a:lnTo>
                    <a:pt x="2293" y="1693"/>
                  </a:lnTo>
                  <a:lnTo>
                    <a:pt x="2302" y="1693"/>
                  </a:lnTo>
                  <a:lnTo>
                    <a:pt x="2302" y="1693"/>
                  </a:lnTo>
                  <a:lnTo>
                    <a:pt x="2312" y="1694"/>
                  </a:lnTo>
                  <a:lnTo>
                    <a:pt x="2321" y="1696"/>
                  </a:lnTo>
                  <a:lnTo>
                    <a:pt x="2328" y="1701"/>
                  </a:lnTo>
                  <a:lnTo>
                    <a:pt x="2333" y="1708"/>
                  </a:lnTo>
                  <a:lnTo>
                    <a:pt x="2338" y="1714"/>
                  </a:lnTo>
                  <a:lnTo>
                    <a:pt x="2341" y="1722"/>
                  </a:lnTo>
                  <a:lnTo>
                    <a:pt x="2343" y="1731"/>
                  </a:lnTo>
                  <a:lnTo>
                    <a:pt x="2345" y="1739"/>
                  </a:lnTo>
                  <a:lnTo>
                    <a:pt x="2261" y="1739"/>
                  </a:lnTo>
                  <a:lnTo>
                    <a:pt x="2261" y="1739"/>
                  </a:lnTo>
                  <a:close/>
                  <a:moveTo>
                    <a:pt x="2889" y="1810"/>
                  </a:moveTo>
                  <a:lnTo>
                    <a:pt x="2889" y="1810"/>
                  </a:lnTo>
                  <a:lnTo>
                    <a:pt x="2880" y="1817"/>
                  </a:lnTo>
                  <a:lnTo>
                    <a:pt x="2871" y="1822"/>
                  </a:lnTo>
                  <a:lnTo>
                    <a:pt x="2865" y="1824"/>
                  </a:lnTo>
                  <a:lnTo>
                    <a:pt x="2859" y="1827"/>
                  </a:lnTo>
                  <a:lnTo>
                    <a:pt x="2852" y="1828"/>
                  </a:lnTo>
                  <a:lnTo>
                    <a:pt x="2844" y="1829"/>
                  </a:lnTo>
                  <a:lnTo>
                    <a:pt x="2844" y="1829"/>
                  </a:lnTo>
                  <a:lnTo>
                    <a:pt x="2839" y="1828"/>
                  </a:lnTo>
                  <a:lnTo>
                    <a:pt x="2832" y="1828"/>
                  </a:lnTo>
                  <a:lnTo>
                    <a:pt x="2824" y="1825"/>
                  </a:lnTo>
                  <a:lnTo>
                    <a:pt x="2817" y="1821"/>
                  </a:lnTo>
                  <a:lnTo>
                    <a:pt x="2809" y="1815"/>
                  </a:lnTo>
                  <a:lnTo>
                    <a:pt x="2806" y="1811"/>
                  </a:lnTo>
                  <a:lnTo>
                    <a:pt x="2802" y="1807"/>
                  </a:lnTo>
                  <a:lnTo>
                    <a:pt x="2800" y="1801"/>
                  </a:lnTo>
                  <a:lnTo>
                    <a:pt x="2798" y="1794"/>
                  </a:lnTo>
                  <a:lnTo>
                    <a:pt x="2795" y="1788"/>
                  </a:lnTo>
                  <a:lnTo>
                    <a:pt x="2794" y="1780"/>
                  </a:lnTo>
                  <a:lnTo>
                    <a:pt x="2932" y="1780"/>
                  </a:lnTo>
                  <a:lnTo>
                    <a:pt x="2932" y="1780"/>
                  </a:lnTo>
                  <a:lnTo>
                    <a:pt x="2934" y="1763"/>
                  </a:lnTo>
                  <a:lnTo>
                    <a:pt x="2934" y="1763"/>
                  </a:lnTo>
                  <a:lnTo>
                    <a:pt x="2932" y="1750"/>
                  </a:lnTo>
                  <a:lnTo>
                    <a:pt x="2931" y="1738"/>
                  </a:lnTo>
                  <a:lnTo>
                    <a:pt x="2929" y="1725"/>
                  </a:lnTo>
                  <a:lnTo>
                    <a:pt x="2927" y="1714"/>
                  </a:lnTo>
                  <a:lnTo>
                    <a:pt x="2922" y="1704"/>
                  </a:lnTo>
                  <a:lnTo>
                    <a:pt x="2918" y="1694"/>
                  </a:lnTo>
                  <a:lnTo>
                    <a:pt x="2913" y="1685"/>
                  </a:lnTo>
                  <a:lnTo>
                    <a:pt x="2908" y="1678"/>
                  </a:lnTo>
                  <a:lnTo>
                    <a:pt x="2901" y="1670"/>
                  </a:lnTo>
                  <a:lnTo>
                    <a:pt x="2893" y="1664"/>
                  </a:lnTo>
                  <a:lnTo>
                    <a:pt x="2886" y="1659"/>
                  </a:lnTo>
                  <a:lnTo>
                    <a:pt x="2878" y="1654"/>
                  </a:lnTo>
                  <a:lnTo>
                    <a:pt x="2869" y="1651"/>
                  </a:lnTo>
                  <a:lnTo>
                    <a:pt x="2859" y="1648"/>
                  </a:lnTo>
                  <a:lnTo>
                    <a:pt x="2849" y="1646"/>
                  </a:lnTo>
                  <a:lnTo>
                    <a:pt x="2839" y="1645"/>
                  </a:lnTo>
                  <a:lnTo>
                    <a:pt x="2839" y="1645"/>
                  </a:lnTo>
                  <a:lnTo>
                    <a:pt x="2828" y="1646"/>
                  </a:lnTo>
                  <a:lnTo>
                    <a:pt x="2818" y="1648"/>
                  </a:lnTo>
                  <a:lnTo>
                    <a:pt x="2808" y="1651"/>
                  </a:lnTo>
                  <a:lnTo>
                    <a:pt x="2799" y="1654"/>
                  </a:lnTo>
                  <a:lnTo>
                    <a:pt x="2790" y="1659"/>
                  </a:lnTo>
                  <a:lnTo>
                    <a:pt x="2781" y="1665"/>
                  </a:lnTo>
                  <a:lnTo>
                    <a:pt x="2774" y="1671"/>
                  </a:lnTo>
                  <a:lnTo>
                    <a:pt x="2767" y="1679"/>
                  </a:lnTo>
                  <a:lnTo>
                    <a:pt x="2760" y="1686"/>
                  </a:lnTo>
                  <a:lnTo>
                    <a:pt x="2754" y="1695"/>
                  </a:lnTo>
                  <a:lnTo>
                    <a:pt x="2750" y="1705"/>
                  </a:lnTo>
                  <a:lnTo>
                    <a:pt x="2745" y="1715"/>
                  </a:lnTo>
                  <a:lnTo>
                    <a:pt x="2743" y="1727"/>
                  </a:lnTo>
                  <a:lnTo>
                    <a:pt x="2740" y="1739"/>
                  </a:lnTo>
                  <a:lnTo>
                    <a:pt x="2739" y="1750"/>
                  </a:lnTo>
                  <a:lnTo>
                    <a:pt x="2739" y="1763"/>
                  </a:lnTo>
                  <a:lnTo>
                    <a:pt x="2739" y="1763"/>
                  </a:lnTo>
                  <a:lnTo>
                    <a:pt x="2739" y="1775"/>
                  </a:lnTo>
                  <a:lnTo>
                    <a:pt x="2740" y="1788"/>
                  </a:lnTo>
                  <a:lnTo>
                    <a:pt x="2742" y="1800"/>
                  </a:lnTo>
                  <a:lnTo>
                    <a:pt x="2745" y="1811"/>
                  </a:lnTo>
                  <a:lnTo>
                    <a:pt x="2750" y="1821"/>
                  </a:lnTo>
                  <a:lnTo>
                    <a:pt x="2755" y="1831"/>
                  </a:lnTo>
                  <a:lnTo>
                    <a:pt x="2761" y="1840"/>
                  </a:lnTo>
                  <a:lnTo>
                    <a:pt x="2768" y="1848"/>
                  </a:lnTo>
                  <a:lnTo>
                    <a:pt x="2774" y="1854"/>
                  </a:lnTo>
                  <a:lnTo>
                    <a:pt x="2782" y="1861"/>
                  </a:lnTo>
                  <a:lnTo>
                    <a:pt x="2791" y="1867"/>
                  </a:lnTo>
                  <a:lnTo>
                    <a:pt x="2801" y="1871"/>
                  </a:lnTo>
                  <a:lnTo>
                    <a:pt x="2811" y="1874"/>
                  </a:lnTo>
                  <a:lnTo>
                    <a:pt x="2821" y="1878"/>
                  </a:lnTo>
                  <a:lnTo>
                    <a:pt x="2833" y="1879"/>
                  </a:lnTo>
                  <a:lnTo>
                    <a:pt x="2844" y="1880"/>
                  </a:lnTo>
                  <a:lnTo>
                    <a:pt x="2844" y="1880"/>
                  </a:lnTo>
                  <a:lnTo>
                    <a:pt x="2856" y="1879"/>
                  </a:lnTo>
                  <a:lnTo>
                    <a:pt x="2867" y="1878"/>
                  </a:lnTo>
                  <a:lnTo>
                    <a:pt x="2877" y="1874"/>
                  </a:lnTo>
                  <a:lnTo>
                    <a:pt x="2887" y="1871"/>
                  </a:lnTo>
                  <a:lnTo>
                    <a:pt x="2897" y="1866"/>
                  </a:lnTo>
                  <a:lnTo>
                    <a:pt x="2907" y="1860"/>
                  </a:lnTo>
                  <a:lnTo>
                    <a:pt x="2916" y="1852"/>
                  </a:lnTo>
                  <a:lnTo>
                    <a:pt x="2924" y="1844"/>
                  </a:lnTo>
                  <a:lnTo>
                    <a:pt x="2889" y="1810"/>
                  </a:lnTo>
                  <a:lnTo>
                    <a:pt x="2889" y="1810"/>
                  </a:lnTo>
                  <a:close/>
                  <a:moveTo>
                    <a:pt x="2795" y="1739"/>
                  </a:moveTo>
                  <a:lnTo>
                    <a:pt x="2795" y="1739"/>
                  </a:lnTo>
                  <a:lnTo>
                    <a:pt x="2797" y="1729"/>
                  </a:lnTo>
                  <a:lnTo>
                    <a:pt x="2800" y="1720"/>
                  </a:lnTo>
                  <a:lnTo>
                    <a:pt x="2803" y="1712"/>
                  </a:lnTo>
                  <a:lnTo>
                    <a:pt x="2808" y="1705"/>
                  </a:lnTo>
                  <a:lnTo>
                    <a:pt x="2814" y="1700"/>
                  </a:lnTo>
                  <a:lnTo>
                    <a:pt x="2821" y="1696"/>
                  </a:lnTo>
                  <a:lnTo>
                    <a:pt x="2829" y="1693"/>
                  </a:lnTo>
                  <a:lnTo>
                    <a:pt x="2838" y="1693"/>
                  </a:lnTo>
                  <a:lnTo>
                    <a:pt x="2838" y="1693"/>
                  </a:lnTo>
                  <a:lnTo>
                    <a:pt x="2848" y="1694"/>
                  </a:lnTo>
                  <a:lnTo>
                    <a:pt x="2856" y="1696"/>
                  </a:lnTo>
                  <a:lnTo>
                    <a:pt x="2863" y="1701"/>
                  </a:lnTo>
                  <a:lnTo>
                    <a:pt x="2869" y="1708"/>
                  </a:lnTo>
                  <a:lnTo>
                    <a:pt x="2873" y="1714"/>
                  </a:lnTo>
                  <a:lnTo>
                    <a:pt x="2877" y="1722"/>
                  </a:lnTo>
                  <a:lnTo>
                    <a:pt x="2879" y="1731"/>
                  </a:lnTo>
                  <a:lnTo>
                    <a:pt x="2880" y="1739"/>
                  </a:lnTo>
                  <a:lnTo>
                    <a:pt x="2795" y="1739"/>
                  </a:lnTo>
                  <a:lnTo>
                    <a:pt x="2795" y="1739"/>
                  </a:lnTo>
                  <a:close/>
                  <a:moveTo>
                    <a:pt x="2662" y="1797"/>
                  </a:moveTo>
                  <a:lnTo>
                    <a:pt x="2662" y="1797"/>
                  </a:lnTo>
                  <a:lnTo>
                    <a:pt x="2662" y="1804"/>
                  </a:lnTo>
                  <a:lnTo>
                    <a:pt x="2663" y="1810"/>
                  </a:lnTo>
                  <a:lnTo>
                    <a:pt x="2665" y="1815"/>
                  </a:lnTo>
                  <a:lnTo>
                    <a:pt x="2667" y="1820"/>
                  </a:lnTo>
                  <a:lnTo>
                    <a:pt x="2671" y="1823"/>
                  </a:lnTo>
                  <a:lnTo>
                    <a:pt x="2675" y="1825"/>
                  </a:lnTo>
                  <a:lnTo>
                    <a:pt x="2680" y="1827"/>
                  </a:lnTo>
                  <a:lnTo>
                    <a:pt x="2686" y="1827"/>
                  </a:lnTo>
                  <a:lnTo>
                    <a:pt x="2686" y="1827"/>
                  </a:lnTo>
                  <a:lnTo>
                    <a:pt x="2694" y="1827"/>
                  </a:lnTo>
                  <a:lnTo>
                    <a:pt x="2703" y="1824"/>
                  </a:lnTo>
                  <a:lnTo>
                    <a:pt x="2712" y="1821"/>
                  </a:lnTo>
                  <a:lnTo>
                    <a:pt x="2720" y="1817"/>
                  </a:lnTo>
                  <a:lnTo>
                    <a:pt x="2713" y="1869"/>
                  </a:lnTo>
                  <a:lnTo>
                    <a:pt x="2713" y="1869"/>
                  </a:lnTo>
                  <a:lnTo>
                    <a:pt x="2703" y="1873"/>
                  </a:lnTo>
                  <a:lnTo>
                    <a:pt x="2691" y="1877"/>
                  </a:lnTo>
                  <a:lnTo>
                    <a:pt x="2679" y="1879"/>
                  </a:lnTo>
                  <a:lnTo>
                    <a:pt x="2666" y="1880"/>
                  </a:lnTo>
                  <a:lnTo>
                    <a:pt x="2666" y="1880"/>
                  </a:lnTo>
                  <a:lnTo>
                    <a:pt x="2659" y="1879"/>
                  </a:lnTo>
                  <a:lnTo>
                    <a:pt x="2651" y="1878"/>
                  </a:lnTo>
                  <a:lnTo>
                    <a:pt x="2644" y="1876"/>
                  </a:lnTo>
                  <a:lnTo>
                    <a:pt x="2639" y="1873"/>
                  </a:lnTo>
                  <a:lnTo>
                    <a:pt x="2633" y="1870"/>
                  </a:lnTo>
                  <a:lnTo>
                    <a:pt x="2627" y="1867"/>
                  </a:lnTo>
                  <a:lnTo>
                    <a:pt x="2624" y="1862"/>
                  </a:lnTo>
                  <a:lnTo>
                    <a:pt x="2620" y="1857"/>
                  </a:lnTo>
                  <a:lnTo>
                    <a:pt x="2614" y="1847"/>
                  </a:lnTo>
                  <a:lnTo>
                    <a:pt x="2610" y="1834"/>
                  </a:lnTo>
                  <a:lnTo>
                    <a:pt x="2607" y="1823"/>
                  </a:lnTo>
                  <a:lnTo>
                    <a:pt x="2606" y="1811"/>
                  </a:lnTo>
                  <a:lnTo>
                    <a:pt x="2606" y="1702"/>
                  </a:lnTo>
                  <a:lnTo>
                    <a:pt x="2572" y="1702"/>
                  </a:lnTo>
                  <a:lnTo>
                    <a:pt x="2572" y="1651"/>
                  </a:lnTo>
                  <a:lnTo>
                    <a:pt x="2606" y="1651"/>
                  </a:lnTo>
                  <a:lnTo>
                    <a:pt x="2606" y="1593"/>
                  </a:lnTo>
                  <a:lnTo>
                    <a:pt x="2662" y="1565"/>
                  </a:lnTo>
                  <a:lnTo>
                    <a:pt x="2662" y="1651"/>
                  </a:lnTo>
                  <a:lnTo>
                    <a:pt x="2712" y="1651"/>
                  </a:lnTo>
                  <a:lnTo>
                    <a:pt x="2712" y="1702"/>
                  </a:lnTo>
                  <a:lnTo>
                    <a:pt x="2662" y="1702"/>
                  </a:lnTo>
                  <a:lnTo>
                    <a:pt x="2662" y="1797"/>
                  </a:lnTo>
                  <a:lnTo>
                    <a:pt x="2662" y="1797"/>
                  </a:lnTo>
                  <a:close/>
                  <a:moveTo>
                    <a:pt x="2554" y="1869"/>
                  </a:moveTo>
                  <a:lnTo>
                    <a:pt x="2554" y="1869"/>
                  </a:lnTo>
                  <a:lnTo>
                    <a:pt x="2544" y="1873"/>
                  </a:lnTo>
                  <a:lnTo>
                    <a:pt x="2533" y="1877"/>
                  </a:lnTo>
                  <a:lnTo>
                    <a:pt x="2521" y="1879"/>
                  </a:lnTo>
                  <a:lnTo>
                    <a:pt x="2508" y="1880"/>
                  </a:lnTo>
                  <a:lnTo>
                    <a:pt x="2508" y="1880"/>
                  </a:lnTo>
                  <a:lnTo>
                    <a:pt x="2499" y="1879"/>
                  </a:lnTo>
                  <a:lnTo>
                    <a:pt x="2493" y="1878"/>
                  </a:lnTo>
                  <a:lnTo>
                    <a:pt x="2486" y="1876"/>
                  </a:lnTo>
                  <a:lnTo>
                    <a:pt x="2479" y="1873"/>
                  </a:lnTo>
                  <a:lnTo>
                    <a:pt x="2475" y="1870"/>
                  </a:lnTo>
                  <a:lnTo>
                    <a:pt x="2469" y="1867"/>
                  </a:lnTo>
                  <a:lnTo>
                    <a:pt x="2465" y="1862"/>
                  </a:lnTo>
                  <a:lnTo>
                    <a:pt x="2461" y="1857"/>
                  </a:lnTo>
                  <a:lnTo>
                    <a:pt x="2455" y="1847"/>
                  </a:lnTo>
                  <a:lnTo>
                    <a:pt x="2451" y="1834"/>
                  </a:lnTo>
                  <a:lnTo>
                    <a:pt x="2448" y="1823"/>
                  </a:lnTo>
                  <a:lnTo>
                    <a:pt x="2448" y="1811"/>
                  </a:lnTo>
                  <a:lnTo>
                    <a:pt x="2448" y="1702"/>
                  </a:lnTo>
                  <a:lnTo>
                    <a:pt x="2414" y="1702"/>
                  </a:lnTo>
                  <a:lnTo>
                    <a:pt x="2414" y="1651"/>
                  </a:lnTo>
                  <a:lnTo>
                    <a:pt x="2448" y="1651"/>
                  </a:lnTo>
                  <a:lnTo>
                    <a:pt x="2448" y="1593"/>
                  </a:lnTo>
                  <a:lnTo>
                    <a:pt x="2504" y="1565"/>
                  </a:lnTo>
                  <a:lnTo>
                    <a:pt x="2504" y="1651"/>
                  </a:lnTo>
                  <a:lnTo>
                    <a:pt x="2551" y="1651"/>
                  </a:lnTo>
                  <a:lnTo>
                    <a:pt x="2551" y="1702"/>
                  </a:lnTo>
                  <a:lnTo>
                    <a:pt x="2504" y="1702"/>
                  </a:lnTo>
                  <a:lnTo>
                    <a:pt x="2504" y="1797"/>
                  </a:lnTo>
                  <a:lnTo>
                    <a:pt x="2504" y="1797"/>
                  </a:lnTo>
                  <a:lnTo>
                    <a:pt x="2504" y="1804"/>
                  </a:lnTo>
                  <a:lnTo>
                    <a:pt x="2505" y="1810"/>
                  </a:lnTo>
                  <a:lnTo>
                    <a:pt x="2507" y="1815"/>
                  </a:lnTo>
                  <a:lnTo>
                    <a:pt x="2509" y="1820"/>
                  </a:lnTo>
                  <a:lnTo>
                    <a:pt x="2513" y="1823"/>
                  </a:lnTo>
                  <a:lnTo>
                    <a:pt x="2517" y="1825"/>
                  </a:lnTo>
                  <a:lnTo>
                    <a:pt x="2522" y="1827"/>
                  </a:lnTo>
                  <a:lnTo>
                    <a:pt x="2527" y="1827"/>
                  </a:lnTo>
                  <a:lnTo>
                    <a:pt x="2527" y="1827"/>
                  </a:lnTo>
                  <a:lnTo>
                    <a:pt x="2536" y="1827"/>
                  </a:lnTo>
                  <a:lnTo>
                    <a:pt x="2545" y="1824"/>
                  </a:lnTo>
                  <a:lnTo>
                    <a:pt x="2553" y="1821"/>
                  </a:lnTo>
                  <a:lnTo>
                    <a:pt x="2561" y="1817"/>
                  </a:lnTo>
                  <a:lnTo>
                    <a:pt x="2554" y="1869"/>
                  </a:lnTo>
                  <a:lnTo>
                    <a:pt x="2554" y="1869"/>
                  </a:lnTo>
                  <a:close/>
                  <a:moveTo>
                    <a:pt x="3101" y="1713"/>
                  </a:moveTo>
                  <a:lnTo>
                    <a:pt x="3101" y="1713"/>
                  </a:lnTo>
                  <a:lnTo>
                    <a:pt x="3093" y="1708"/>
                  </a:lnTo>
                  <a:lnTo>
                    <a:pt x="3084" y="1704"/>
                  </a:lnTo>
                  <a:lnTo>
                    <a:pt x="3074" y="1702"/>
                  </a:lnTo>
                  <a:lnTo>
                    <a:pt x="3064" y="1701"/>
                  </a:lnTo>
                  <a:lnTo>
                    <a:pt x="3064" y="1701"/>
                  </a:lnTo>
                  <a:lnTo>
                    <a:pt x="3055" y="1702"/>
                  </a:lnTo>
                  <a:lnTo>
                    <a:pt x="3046" y="1704"/>
                  </a:lnTo>
                  <a:lnTo>
                    <a:pt x="3039" y="1709"/>
                  </a:lnTo>
                  <a:lnTo>
                    <a:pt x="3034" y="1714"/>
                  </a:lnTo>
                  <a:lnTo>
                    <a:pt x="3029" y="1721"/>
                  </a:lnTo>
                  <a:lnTo>
                    <a:pt x="3027" y="1730"/>
                  </a:lnTo>
                  <a:lnTo>
                    <a:pt x="3025" y="1741"/>
                  </a:lnTo>
                  <a:lnTo>
                    <a:pt x="3024" y="1753"/>
                  </a:lnTo>
                  <a:lnTo>
                    <a:pt x="3024" y="1874"/>
                  </a:lnTo>
                  <a:lnTo>
                    <a:pt x="2969" y="1874"/>
                  </a:lnTo>
                  <a:lnTo>
                    <a:pt x="2969" y="1651"/>
                  </a:lnTo>
                  <a:lnTo>
                    <a:pt x="3024" y="1651"/>
                  </a:lnTo>
                  <a:lnTo>
                    <a:pt x="3024" y="1670"/>
                  </a:lnTo>
                  <a:lnTo>
                    <a:pt x="3024" y="1670"/>
                  </a:lnTo>
                  <a:lnTo>
                    <a:pt x="3029" y="1664"/>
                  </a:lnTo>
                  <a:lnTo>
                    <a:pt x="3035" y="1659"/>
                  </a:lnTo>
                  <a:lnTo>
                    <a:pt x="3040" y="1655"/>
                  </a:lnTo>
                  <a:lnTo>
                    <a:pt x="3047" y="1652"/>
                  </a:lnTo>
                  <a:lnTo>
                    <a:pt x="3053" y="1649"/>
                  </a:lnTo>
                  <a:lnTo>
                    <a:pt x="3059" y="1648"/>
                  </a:lnTo>
                  <a:lnTo>
                    <a:pt x="3066" y="1646"/>
                  </a:lnTo>
                  <a:lnTo>
                    <a:pt x="3074" y="1645"/>
                  </a:lnTo>
                  <a:lnTo>
                    <a:pt x="3074" y="1645"/>
                  </a:lnTo>
                  <a:lnTo>
                    <a:pt x="3085" y="1646"/>
                  </a:lnTo>
                  <a:lnTo>
                    <a:pt x="3096" y="1650"/>
                  </a:lnTo>
                  <a:lnTo>
                    <a:pt x="3106" y="1653"/>
                  </a:lnTo>
                  <a:lnTo>
                    <a:pt x="3115" y="1659"/>
                  </a:lnTo>
                  <a:lnTo>
                    <a:pt x="3101" y="1713"/>
                  </a:lnTo>
                  <a:lnTo>
                    <a:pt x="3101" y="1713"/>
                  </a:lnTo>
                  <a:close/>
                  <a:moveTo>
                    <a:pt x="598" y="1598"/>
                  </a:moveTo>
                  <a:lnTo>
                    <a:pt x="598" y="1619"/>
                  </a:lnTo>
                  <a:lnTo>
                    <a:pt x="542" y="1619"/>
                  </a:lnTo>
                  <a:lnTo>
                    <a:pt x="542" y="1563"/>
                  </a:lnTo>
                  <a:lnTo>
                    <a:pt x="598" y="1563"/>
                  </a:lnTo>
                  <a:lnTo>
                    <a:pt x="598" y="1598"/>
                  </a:lnTo>
                  <a:lnTo>
                    <a:pt x="598" y="1598"/>
                  </a:lnTo>
                  <a:close/>
                  <a:moveTo>
                    <a:pt x="983" y="1651"/>
                  </a:moveTo>
                  <a:lnTo>
                    <a:pt x="1039" y="1651"/>
                  </a:lnTo>
                  <a:lnTo>
                    <a:pt x="1039" y="1765"/>
                  </a:lnTo>
                  <a:lnTo>
                    <a:pt x="1039" y="1874"/>
                  </a:lnTo>
                  <a:lnTo>
                    <a:pt x="983" y="1874"/>
                  </a:lnTo>
                  <a:lnTo>
                    <a:pt x="983" y="1651"/>
                  </a:lnTo>
                  <a:lnTo>
                    <a:pt x="983" y="1651"/>
                  </a:lnTo>
                  <a:close/>
                  <a:moveTo>
                    <a:pt x="1039" y="1591"/>
                  </a:moveTo>
                  <a:lnTo>
                    <a:pt x="1039" y="1619"/>
                  </a:lnTo>
                  <a:lnTo>
                    <a:pt x="983" y="1619"/>
                  </a:lnTo>
                  <a:lnTo>
                    <a:pt x="983" y="1563"/>
                  </a:lnTo>
                  <a:lnTo>
                    <a:pt x="1039" y="1563"/>
                  </a:lnTo>
                  <a:lnTo>
                    <a:pt x="1039" y="1591"/>
                  </a:lnTo>
                  <a:lnTo>
                    <a:pt x="1039" y="1591"/>
                  </a:lnTo>
                  <a:close/>
                  <a:moveTo>
                    <a:pt x="2562" y="2058"/>
                  </a:moveTo>
                  <a:lnTo>
                    <a:pt x="2562" y="2058"/>
                  </a:lnTo>
                  <a:lnTo>
                    <a:pt x="2556" y="2053"/>
                  </a:lnTo>
                  <a:lnTo>
                    <a:pt x="2551" y="2049"/>
                  </a:lnTo>
                  <a:lnTo>
                    <a:pt x="2545" y="2046"/>
                  </a:lnTo>
                  <a:lnTo>
                    <a:pt x="2538" y="2042"/>
                  </a:lnTo>
                  <a:lnTo>
                    <a:pt x="2533" y="2040"/>
                  </a:lnTo>
                  <a:lnTo>
                    <a:pt x="2526" y="2039"/>
                  </a:lnTo>
                  <a:lnTo>
                    <a:pt x="2512" y="2037"/>
                  </a:lnTo>
                  <a:lnTo>
                    <a:pt x="2512" y="2037"/>
                  </a:lnTo>
                  <a:lnTo>
                    <a:pt x="2502" y="2038"/>
                  </a:lnTo>
                  <a:lnTo>
                    <a:pt x="2493" y="2039"/>
                  </a:lnTo>
                  <a:lnTo>
                    <a:pt x="2484" y="2042"/>
                  </a:lnTo>
                  <a:lnTo>
                    <a:pt x="2475" y="2046"/>
                  </a:lnTo>
                  <a:lnTo>
                    <a:pt x="2467" y="2050"/>
                  </a:lnTo>
                  <a:lnTo>
                    <a:pt x="2460" y="2055"/>
                  </a:lnTo>
                  <a:lnTo>
                    <a:pt x="2454" y="2061"/>
                  </a:lnTo>
                  <a:lnTo>
                    <a:pt x="2447" y="2068"/>
                  </a:lnTo>
                  <a:lnTo>
                    <a:pt x="2443" y="2076"/>
                  </a:lnTo>
                  <a:lnTo>
                    <a:pt x="2437" y="2085"/>
                  </a:lnTo>
                  <a:lnTo>
                    <a:pt x="2434" y="2093"/>
                  </a:lnTo>
                  <a:lnTo>
                    <a:pt x="2430" y="2105"/>
                  </a:lnTo>
                  <a:lnTo>
                    <a:pt x="2427" y="2115"/>
                  </a:lnTo>
                  <a:lnTo>
                    <a:pt x="2426" y="2127"/>
                  </a:lnTo>
                  <a:lnTo>
                    <a:pt x="2425" y="2139"/>
                  </a:lnTo>
                  <a:lnTo>
                    <a:pt x="2424" y="2152"/>
                  </a:lnTo>
                  <a:lnTo>
                    <a:pt x="2424" y="2152"/>
                  </a:lnTo>
                  <a:lnTo>
                    <a:pt x="2425" y="2166"/>
                  </a:lnTo>
                  <a:lnTo>
                    <a:pt x="2426" y="2178"/>
                  </a:lnTo>
                  <a:lnTo>
                    <a:pt x="2427" y="2190"/>
                  </a:lnTo>
                  <a:lnTo>
                    <a:pt x="2430" y="2202"/>
                  </a:lnTo>
                  <a:lnTo>
                    <a:pt x="2433" y="2212"/>
                  </a:lnTo>
                  <a:lnTo>
                    <a:pt x="2437" y="2222"/>
                  </a:lnTo>
                  <a:lnTo>
                    <a:pt x="2441" y="2231"/>
                  </a:lnTo>
                  <a:lnTo>
                    <a:pt x="2447" y="2239"/>
                  </a:lnTo>
                  <a:lnTo>
                    <a:pt x="2453" y="2247"/>
                  </a:lnTo>
                  <a:lnTo>
                    <a:pt x="2459" y="2252"/>
                  </a:lnTo>
                  <a:lnTo>
                    <a:pt x="2466" y="2258"/>
                  </a:lnTo>
                  <a:lnTo>
                    <a:pt x="2474" y="2262"/>
                  </a:lnTo>
                  <a:lnTo>
                    <a:pt x="2483" y="2267"/>
                  </a:lnTo>
                  <a:lnTo>
                    <a:pt x="2492" y="2269"/>
                  </a:lnTo>
                  <a:lnTo>
                    <a:pt x="2500" y="2270"/>
                  </a:lnTo>
                  <a:lnTo>
                    <a:pt x="2510" y="2271"/>
                  </a:lnTo>
                  <a:lnTo>
                    <a:pt x="2510" y="2271"/>
                  </a:lnTo>
                  <a:lnTo>
                    <a:pt x="2517" y="2270"/>
                  </a:lnTo>
                  <a:lnTo>
                    <a:pt x="2525" y="2269"/>
                  </a:lnTo>
                  <a:lnTo>
                    <a:pt x="2532" y="2268"/>
                  </a:lnTo>
                  <a:lnTo>
                    <a:pt x="2537" y="2266"/>
                  </a:lnTo>
                  <a:lnTo>
                    <a:pt x="2544" y="2262"/>
                  </a:lnTo>
                  <a:lnTo>
                    <a:pt x="2551" y="2259"/>
                  </a:lnTo>
                  <a:lnTo>
                    <a:pt x="2556" y="2255"/>
                  </a:lnTo>
                  <a:lnTo>
                    <a:pt x="2562" y="2249"/>
                  </a:lnTo>
                  <a:lnTo>
                    <a:pt x="2562" y="2266"/>
                  </a:lnTo>
                  <a:lnTo>
                    <a:pt x="2617" y="2266"/>
                  </a:lnTo>
                  <a:lnTo>
                    <a:pt x="2617" y="1949"/>
                  </a:lnTo>
                  <a:lnTo>
                    <a:pt x="2562" y="1977"/>
                  </a:lnTo>
                  <a:lnTo>
                    <a:pt x="2562" y="2058"/>
                  </a:lnTo>
                  <a:lnTo>
                    <a:pt x="2562" y="2058"/>
                  </a:lnTo>
                  <a:close/>
                  <a:moveTo>
                    <a:pt x="2523" y="2220"/>
                  </a:moveTo>
                  <a:lnTo>
                    <a:pt x="2523" y="2220"/>
                  </a:lnTo>
                  <a:lnTo>
                    <a:pt x="2515" y="2219"/>
                  </a:lnTo>
                  <a:lnTo>
                    <a:pt x="2508" y="2217"/>
                  </a:lnTo>
                  <a:lnTo>
                    <a:pt x="2500" y="2214"/>
                  </a:lnTo>
                  <a:lnTo>
                    <a:pt x="2494" y="2207"/>
                  </a:lnTo>
                  <a:lnTo>
                    <a:pt x="2488" y="2198"/>
                  </a:lnTo>
                  <a:lnTo>
                    <a:pt x="2484" y="2186"/>
                  </a:lnTo>
                  <a:lnTo>
                    <a:pt x="2482" y="2170"/>
                  </a:lnTo>
                  <a:lnTo>
                    <a:pt x="2480" y="2150"/>
                  </a:lnTo>
                  <a:lnTo>
                    <a:pt x="2480" y="2150"/>
                  </a:lnTo>
                  <a:lnTo>
                    <a:pt x="2482" y="2133"/>
                  </a:lnTo>
                  <a:lnTo>
                    <a:pt x="2484" y="2119"/>
                  </a:lnTo>
                  <a:lnTo>
                    <a:pt x="2488" y="2108"/>
                  </a:lnTo>
                  <a:lnTo>
                    <a:pt x="2494" y="2100"/>
                  </a:lnTo>
                  <a:lnTo>
                    <a:pt x="2500" y="2095"/>
                  </a:lnTo>
                  <a:lnTo>
                    <a:pt x="2507" y="2090"/>
                  </a:lnTo>
                  <a:lnTo>
                    <a:pt x="2515" y="2089"/>
                  </a:lnTo>
                  <a:lnTo>
                    <a:pt x="2522" y="2088"/>
                  </a:lnTo>
                  <a:lnTo>
                    <a:pt x="2522" y="2088"/>
                  </a:lnTo>
                  <a:lnTo>
                    <a:pt x="2529" y="2089"/>
                  </a:lnTo>
                  <a:lnTo>
                    <a:pt x="2536" y="2090"/>
                  </a:lnTo>
                  <a:lnTo>
                    <a:pt x="2542" y="2092"/>
                  </a:lnTo>
                  <a:lnTo>
                    <a:pt x="2547" y="2096"/>
                  </a:lnTo>
                  <a:lnTo>
                    <a:pt x="2552" y="2099"/>
                  </a:lnTo>
                  <a:lnTo>
                    <a:pt x="2556" y="2102"/>
                  </a:lnTo>
                  <a:lnTo>
                    <a:pt x="2562" y="2110"/>
                  </a:lnTo>
                  <a:lnTo>
                    <a:pt x="2562" y="2198"/>
                  </a:lnTo>
                  <a:lnTo>
                    <a:pt x="2562" y="2198"/>
                  </a:lnTo>
                  <a:lnTo>
                    <a:pt x="2555" y="2206"/>
                  </a:lnTo>
                  <a:lnTo>
                    <a:pt x="2547" y="2212"/>
                  </a:lnTo>
                  <a:lnTo>
                    <a:pt x="2542" y="2216"/>
                  </a:lnTo>
                  <a:lnTo>
                    <a:pt x="2536" y="2218"/>
                  </a:lnTo>
                  <a:lnTo>
                    <a:pt x="2529" y="2219"/>
                  </a:lnTo>
                  <a:lnTo>
                    <a:pt x="2523" y="2220"/>
                  </a:lnTo>
                  <a:lnTo>
                    <a:pt x="2523" y="2220"/>
                  </a:lnTo>
                  <a:lnTo>
                    <a:pt x="2523" y="2220"/>
                  </a:lnTo>
                  <a:close/>
                  <a:moveTo>
                    <a:pt x="678" y="2105"/>
                  </a:moveTo>
                  <a:lnTo>
                    <a:pt x="678" y="2105"/>
                  </a:lnTo>
                  <a:lnTo>
                    <a:pt x="670" y="2100"/>
                  </a:lnTo>
                  <a:lnTo>
                    <a:pt x="661" y="2096"/>
                  </a:lnTo>
                  <a:lnTo>
                    <a:pt x="651" y="2093"/>
                  </a:lnTo>
                  <a:lnTo>
                    <a:pt x="641" y="2092"/>
                  </a:lnTo>
                  <a:lnTo>
                    <a:pt x="641" y="2092"/>
                  </a:lnTo>
                  <a:lnTo>
                    <a:pt x="632" y="2093"/>
                  </a:lnTo>
                  <a:lnTo>
                    <a:pt x="623" y="2096"/>
                  </a:lnTo>
                  <a:lnTo>
                    <a:pt x="617" y="2100"/>
                  </a:lnTo>
                  <a:lnTo>
                    <a:pt x="611" y="2106"/>
                  </a:lnTo>
                  <a:lnTo>
                    <a:pt x="607" y="2112"/>
                  </a:lnTo>
                  <a:lnTo>
                    <a:pt x="605" y="2121"/>
                  </a:lnTo>
                  <a:lnTo>
                    <a:pt x="602" y="2132"/>
                  </a:lnTo>
                  <a:lnTo>
                    <a:pt x="601" y="2145"/>
                  </a:lnTo>
                  <a:lnTo>
                    <a:pt x="601" y="2266"/>
                  </a:lnTo>
                  <a:lnTo>
                    <a:pt x="547" y="2266"/>
                  </a:lnTo>
                  <a:lnTo>
                    <a:pt x="547" y="2042"/>
                  </a:lnTo>
                  <a:lnTo>
                    <a:pt x="601" y="2042"/>
                  </a:lnTo>
                  <a:lnTo>
                    <a:pt x="601" y="2061"/>
                  </a:lnTo>
                  <a:lnTo>
                    <a:pt x="601" y="2061"/>
                  </a:lnTo>
                  <a:lnTo>
                    <a:pt x="607" y="2056"/>
                  </a:lnTo>
                  <a:lnTo>
                    <a:pt x="612" y="2050"/>
                  </a:lnTo>
                  <a:lnTo>
                    <a:pt x="618" y="2047"/>
                  </a:lnTo>
                  <a:lnTo>
                    <a:pt x="625" y="2043"/>
                  </a:lnTo>
                  <a:lnTo>
                    <a:pt x="630" y="2040"/>
                  </a:lnTo>
                  <a:lnTo>
                    <a:pt x="637" y="2039"/>
                  </a:lnTo>
                  <a:lnTo>
                    <a:pt x="645" y="2038"/>
                  </a:lnTo>
                  <a:lnTo>
                    <a:pt x="651" y="2037"/>
                  </a:lnTo>
                  <a:lnTo>
                    <a:pt x="651" y="2037"/>
                  </a:lnTo>
                  <a:lnTo>
                    <a:pt x="662" y="2038"/>
                  </a:lnTo>
                  <a:lnTo>
                    <a:pt x="674" y="2041"/>
                  </a:lnTo>
                  <a:lnTo>
                    <a:pt x="685" y="2046"/>
                  </a:lnTo>
                  <a:lnTo>
                    <a:pt x="694" y="2051"/>
                  </a:lnTo>
                  <a:lnTo>
                    <a:pt x="678" y="2105"/>
                  </a:lnTo>
                  <a:lnTo>
                    <a:pt x="678" y="2105"/>
                  </a:lnTo>
                  <a:close/>
                  <a:moveTo>
                    <a:pt x="243" y="2042"/>
                  </a:moveTo>
                  <a:lnTo>
                    <a:pt x="297" y="2042"/>
                  </a:lnTo>
                  <a:lnTo>
                    <a:pt x="234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4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4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4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2" y="2125"/>
                  </a:lnTo>
                  <a:lnTo>
                    <a:pt x="243" y="2042"/>
                  </a:lnTo>
                  <a:lnTo>
                    <a:pt x="243" y="2042"/>
                  </a:lnTo>
                  <a:close/>
                  <a:moveTo>
                    <a:pt x="410" y="2037"/>
                  </a:moveTo>
                  <a:lnTo>
                    <a:pt x="410" y="2037"/>
                  </a:lnTo>
                  <a:lnTo>
                    <a:pt x="400" y="2038"/>
                  </a:lnTo>
                  <a:lnTo>
                    <a:pt x="389" y="2039"/>
                  </a:lnTo>
                  <a:lnTo>
                    <a:pt x="379" y="2042"/>
                  </a:lnTo>
                  <a:lnTo>
                    <a:pt x="370" y="2046"/>
                  </a:lnTo>
                  <a:lnTo>
                    <a:pt x="361" y="2050"/>
                  </a:lnTo>
                  <a:lnTo>
                    <a:pt x="352" y="2056"/>
                  </a:lnTo>
                  <a:lnTo>
                    <a:pt x="344" y="2062"/>
                  </a:lnTo>
                  <a:lnTo>
                    <a:pt x="337" y="2070"/>
                  </a:lnTo>
                  <a:lnTo>
                    <a:pt x="331" y="2078"/>
                  </a:lnTo>
                  <a:lnTo>
                    <a:pt x="325" y="2087"/>
                  </a:lnTo>
                  <a:lnTo>
                    <a:pt x="320" y="2097"/>
                  </a:lnTo>
                  <a:lnTo>
                    <a:pt x="316" y="2107"/>
                  </a:lnTo>
                  <a:lnTo>
                    <a:pt x="313" y="2118"/>
                  </a:lnTo>
                  <a:lnTo>
                    <a:pt x="311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1" y="2179"/>
                  </a:lnTo>
                  <a:lnTo>
                    <a:pt x="313" y="2190"/>
                  </a:lnTo>
                  <a:lnTo>
                    <a:pt x="316" y="2201"/>
                  </a:lnTo>
                  <a:lnTo>
                    <a:pt x="320" y="2211"/>
                  </a:lnTo>
                  <a:lnTo>
                    <a:pt x="325" y="2221"/>
                  </a:lnTo>
                  <a:lnTo>
                    <a:pt x="331" y="2230"/>
                  </a:lnTo>
                  <a:lnTo>
                    <a:pt x="337" y="2238"/>
                  </a:lnTo>
                  <a:lnTo>
                    <a:pt x="344" y="2246"/>
                  </a:lnTo>
                  <a:lnTo>
                    <a:pt x="352" y="2252"/>
                  </a:lnTo>
                  <a:lnTo>
                    <a:pt x="361" y="2258"/>
                  </a:lnTo>
                  <a:lnTo>
                    <a:pt x="370" y="2262"/>
                  </a:lnTo>
                  <a:lnTo>
                    <a:pt x="379" y="2266"/>
                  </a:lnTo>
                  <a:lnTo>
                    <a:pt x="389" y="2269"/>
                  </a:lnTo>
                  <a:lnTo>
                    <a:pt x="400" y="2270"/>
                  </a:lnTo>
                  <a:lnTo>
                    <a:pt x="410" y="2271"/>
                  </a:lnTo>
                  <a:lnTo>
                    <a:pt x="410" y="2271"/>
                  </a:lnTo>
                  <a:lnTo>
                    <a:pt x="421" y="2270"/>
                  </a:lnTo>
                  <a:lnTo>
                    <a:pt x="432" y="2269"/>
                  </a:lnTo>
                  <a:lnTo>
                    <a:pt x="442" y="2266"/>
                  </a:lnTo>
                  <a:lnTo>
                    <a:pt x="451" y="2262"/>
                  </a:lnTo>
                  <a:lnTo>
                    <a:pt x="460" y="2258"/>
                  </a:lnTo>
                  <a:lnTo>
                    <a:pt x="469" y="2252"/>
                  </a:lnTo>
                  <a:lnTo>
                    <a:pt x="476" y="2246"/>
                  </a:lnTo>
                  <a:lnTo>
                    <a:pt x="483" y="2238"/>
                  </a:lnTo>
                  <a:lnTo>
                    <a:pt x="490" y="2230"/>
                  </a:lnTo>
                  <a:lnTo>
                    <a:pt x="495" y="2221"/>
                  </a:lnTo>
                  <a:lnTo>
                    <a:pt x="500" y="2211"/>
                  </a:lnTo>
                  <a:lnTo>
                    <a:pt x="504" y="2201"/>
                  </a:lnTo>
                  <a:lnTo>
                    <a:pt x="508" y="2190"/>
                  </a:lnTo>
                  <a:lnTo>
                    <a:pt x="510" y="2179"/>
                  </a:lnTo>
                  <a:lnTo>
                    <a:pt x="512" y="2167"/>
                  </a:lnTo>
                  <a:lnTo>
                    <a:pt x="512" y="2155"/>
                  </a:lnTo>
                  <a:lnTo>
                    <a:pt x="512" y="2155"/>
                  </a:lnTo>
                  <a:lnTo>
                    <a:pt x="512" y="2141"/>
                  </a:lnTo>
                  <a:lnTo>
                    <a:pt x="510" y="2129"/>
                  </a:lnTo>
                  <a:lnTo>
                    <a:pt x="508" y="2118"/>
                  </a:lnTo>
                  <a:lnTo>
                    <a:pt x="504" y="2107"/>
                  </a:lnTo>
                  <a:lnTo>
                    <a:pt x="500" y="2097"/>
                  </a:lnTo>
                  <a:lnTo>
                    <a:pt x="495" y="2087"/>
                  </a:lnTo>
                  <a:lnTo>
                    <a:pt x="490" y="2078"/>
                  </a:lnTo>
                  <a:lnTo>
                    <a:pt x="483" y="2070"/>
                  </a:lnTo>
                  <a:lnTo>
                    <a:pt x="476" y="2062"/>
                  </a:lnTo>
                  <a:lnTo>
                    <a:pt x="469" y="2056"/>
                  </a:lnTo>
                  <a:lnTo>
                    <a:pt x="460" y="2050"/>
                  </a:lnTo>
                  <a:lnTo>
                    <a:pt x="451" y="2046"/>
                  </a:lnTo>
                  <a:lnTo>
                    <a:pt x="442" y="2042"/>
                  </a:lnTo>
                  <a:lnTo>
                    <a:pt x="432" y="2039"/>
                  </a:lnTo>
                  <a:lnTo>
                    <a:pt x="421" y="2038"/>
                  </a:lnTo>
                  <a:lnTo>
                    <a:pt x="410" y="2037"/>
                  </a:lnTo>
                  <a:lnTo>
                    <a:pt x="410" y="2037"/>
                  </a:lnTo>
                  <a:lnTo>
                    <a:pt x="410" y="2037"/>
                  </a:lnTo>
                  <a:close/>
                  <a:moveTo>
                    <a:pt x="410" y="2219"/>
                  </a:moveTo>
                  <a:lnTo>
                    <a:pt x="410" y="2219"/>
                  </a:lnTo>
                  <a:lnTo>
                    <a:pt x="400" y="2218"/>
                  </a:lnTo>
                  <a:lnTo>
                    <a:pt x="391" y="2215"/>
                  </a:lnTo>
                  <a:lnTo>
                    <a:pt x="384" y="2209"/>
                  </a:lnTo>
                  <a:lnTo>
                    <a:pt x="377" y="2201"/>
                  </a:lnTo>
                  <a:lnTo>
                    <a:pt x="372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2" y="2117"/>
                  </a:lnTo>
                  <a:lnTo>
                    <a:pt x="377" y="2107"/>
                  </a:lnTo>
                  <a:lnTo>
                    <a:pt x="384" y="2099"/>
                  </a:lnTo>
                  <a:lnTo>
                    <a:pt x="391" y="2093"/>
                  </a:lnTo>
                  <a:lnTo>
                    <a:pt x="400" y="2090"/>
                  </a:lnTo>
                  <a:lnTo>
                    <a:pt x="410" y="2089"/>
                  </a:lnTo>
                  <a:lnTo>
                    <a:pt x="410" y="2089"/>
                  </a:lnTo>
                  <a:lnTo>
                    <a:pt x="420" y="2090"/>
                  </a:lnTo>
                  <a:lnTo>
                    <a:pt x="429" y="2093"/>
                  </a:lnTo>
                  <a:lnTo>
                    <a:pt x="436" y="2099"/>
                  </a:lnTo>
                  <a:lnTo>
                    <a:pt x="443" y="2107"/>
                  </a:lnTo>
                  <a:lnTo>
                    <a:pt x="449" y="2117"/>
                  </a:lnTo>
                  <a:lnTo>
                    <a:pt x="452" y="2127"/>
                  </a:lnTo>
                  <a:lnTo>
                    <a:pt x="454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4" y="2168"/>
                  </a:lnTo>
                  <a:lnTo>
                    <a:pt x="452" y="2181"/>
                  </a:lnTo>
                  <a:lnTo>
                    <a:pt x="449" y="2192"/>
                  </a:lnTo>
                  <a:lnTo>
                    <a:pt x="443" y="2201"/>
                  </a:lnTo>
                  <a:lnTo>
                    <a:pt x="436" y="2209"/>
                  </a:lnTo>
                  <a:lnTo>
                    <a:pt x="429" y="2215"/>
                  </a:lnTo>
                  <a:lnTo>
                    <a:pt x="420" y="2218"/>
                  </a:lnTo>
                  <a:lnTo>
                    <a:pt x="410" y="2219"/>
                  </a:lnTo>
                  <a:lnTo>
                    <a:pt x="410" y="2219"/>
                  </a:lnTo>
                  <a:lnTo>
                    <a:pt x="410" y="2219"/>
                  </a:lnTo>
                  <a:close/>
                  <a:moveTo>
                    <a:pt x="2289" y="2105"/>
                  </a:moveTo>
                  <a:lnTo>
                    <a:pt x="2289" y="2105"/>
                  </a:lnTo>
                  <a:lnTo>
                    <a:pt x="2280" y="2100"/>
                  </a:lnTo>
                  <a:lnTo>
                    <a:pt x="2271" y="2096"/>
                  </a:lnTo>
                  <a:lnTo>
                    <a:pt x="2261" y="2093"/>
                  </a:lnTo>
                  <a:lnTo>
                    <a:pt x="2252" y="2092"/>
                  </a:lnTo>
                  <a:lnTo>
                    <a:pt x="2252" y="2092"/>
                  </a:lnTo>
                  <a:lnTo>
                    <a:pt x="2242" y="2093"/>
                  </a:lnTo>
                  <a:lnTo>
                    <a:pt x="2234" y="2096"/>
                  </a:lnTo>
                  <a:lnTo>
                    <a:pt x="2228" y="2100"/>
                  </a:lnTo>
                  <a:lnTo>
                    <a:pt x="2222" y="2106"/>
                  </a:lnTo>
                  <a:lnTo>
                    <a:pt x="2218" y="2112"/>
                  </a:lnTo>
                  <a:lnTo>
                    <a:pt x="2214" y="2121"/>
                  </a:lnTo>
                  <a:lnTo>
                    <a:pt x="2212" y="2132"/>
                  </a:lnTo>
                  <a:lnTo>
                    <a:pt x="2212" y="2145"/>
                  </a:lnTo>
                  <a:lnTo>
                    <a:pt x="2212" y="2266"/>
                  </a:lnTo>
                  <a:lnTo>
                    <a:pt x="2156" y="2266"/>
                  </a:lnTo>
                  <a:lnTo>
                    <a:pt x="2156" y="2042"/>
                  </a:lnTo>
                  <a:lnTo>
                    <a:pt x="2212" y="2042"/>
                  </a:lnTo>
                  <a:lnTo>
                    <a:pt x="2212" y="2061"/>
                  </a:lnTo>
                  <a:lnTo>
                    <a:pt x="2212" y="2061"/>
                  </a:lnTo>
                  <a:lnTo>
                    <a:pt x="2217" y="2056"/>
                  </a:lnTo>
                  <a:lnTo>
                    <a:pt x="2222" y="2050"/>
                  </a:lnTo>
                  <a:lnTo>
                    <a:pt x="2228" y="2047"/>
                  </a:lnTo>
                  <a:lnTo>
                    <a:pt x="2234" y="2043"/>
                  </a:lnTo>
                  <a:lnTo>
                    <a:pt x="2241" y="2040"/>
                  </a:lnTo>
                  <a:lnTo>
                    <a:pt x="2248" y="2039"/>
                  </a:lnTo>
                  <a:lnTo>
                    <a:pt x="2254" y="2038"/>
                  </a:lnTo>
                  <a:lnTo>
                    <a:pt x="2261" y="2037"/>
                  </a:lnTo>
                  <a:lnTo>
                    <a:pt x="2261" y="2037"/>
                  </a:lnTo>
                  <a:lnTo>
                    <a:pt x="2272" y="2038"/>
                  </a:lnTo>
                  <a:lnTo>
                    <a:pt x="2283" y="2041"/>
                  </a:lnTo>
                  <a:lnTo>
                    <a:pt x="2295" y="2046"/>
                  </a:lnTo>
                  <a:lnTo>
                    <a:pt x="2303" y="2051"/>
                  </a:lnTo>
                  <a:lnTo>
                    <a:pt x="2289" y="2105"/>
                  </a:lnTo>
                  <a:lnTo>
                    <a:pt x="2289" y="2105"/>
                  </a:lnTo>
                  <a:close/>
                  <a:moveTo>
                    <a:pt x="1853" y="2042"/>
                  </a:moveTo>
                  <a:lnTo>
                    <a:pt x="1907" y="2042"/>
                  </a:lnTo>
                  <a:lnTo>
                    <a:pt x="1844" y="2266"/>
                  </a:lnTo>
                  <a:lnTo>
                    <a:pt x="1796" y="2266"/>
                  </a:lnTo>
                  <a:lnTo>
                    <a:pt x="1771" y="2174"/>
                  </a:lnTo>
                  <a:lnTo>
                    <a:pt x="1771" y="2174"/>
                  </a:lnTo>
                  <a:lnTo>
                    <a:pt x="1759" y="2125"/>
                  </a:lnTo>
                  <a:lnTo>
                    <a:pt x="1759" y="2125"/>
                  </a:lnTo>
                  <a:lnTo>
                    <a:pt x="1753" y="2148"/>
                  </a:lnTo>
                  <a:lnTo>
                    <a:pt x="1747" y="2175"/>
                  </a:lnTo>
                  <a:lnTo>
                    <a:pt x="1722" y="2266"/>
                  </a:lnTo>
                  <a:lnTo>
                    <a:pt x="1674" y="2266"/>
                  </a:lnTo>
                  <a:lnTo>
                    <a:pt x="1673" y="2265"/>
                  </a:lnTo>
                  <a:lnTo>
                    <a:pt x="1611" y="2042"/>
                  </a:lnTo>
                  <a:lnTo>
                    <a:pt x="1668" y="2042"/>
                  </a:lnTo>
                  <a:lnTo>
                    <a:pt x="1689" y="2126"/>
                  </a:lnTo>
                  <a:lnTo>
                    <a:pt x="1689" y="2126"/>
                  </a:lnTo>
                  <a:lnTo>
                    <a:pt x="1694" y="2152"/>
                  </a:lnTo>
                  <a:lnTo>
                    <a:pt x="1700" y="2180"/>
                  </a:lnTo>
                  <a:lnTo>
                    <a:pt x="1700" y="2180"/>
                  </a:lnTo>
                  <a:lnTo>
                    <a:pt x="1706" y="2152"/>
                  </a:lnTo>
                  <a:lnTo>
                    <a:pt x="1713" y="2125"/>
                  </a:lnTo>
                  <a:lnTo>
                    <a:pt x="1737" y="2042"/>
                  </a:lnTo>
                  <a:lnTo>
                    <a:pt x="1783" y="2042"/>
                  </a:lnTo>
                  <a:lnTo>
                    <a:pt x="1807" y="2125"/>
                  </a:lnTo>
                  <a:lnTo>
                    <a:pt x="1807" y="2125"/>
                  </a:lnTo>
                  <a:lnTo>
                    <a:pt x="1814" y="2151"/>
                  </a:lnTo>
                  <a:lnTo>
                    <a:pt x="1820" y="2181"/>
                  </a:lnTo>
                  <a:lnTo>
                    <a:pt x="1820" y="2181"/>
                  </a:lnTo>
                  <a:lnTo>
                    <a:pt x="1826" y="2156"/>
                  </a:lnTo>
                  <a:lnTo>
                    <a:pt x="1832" y="2125"/>
                  </a:lnTo>
                  <a:lnTo>
                    <a:pt x="1853" y="2042"/>
                  </a:lnTo>
                  <a:lnTo>
                    <a:pt x="1853" y="2042"/>
                  </a:lnTo>
                  <a:close/>
                  <a:moveTo>
                    <a:pt x="2020" y="2037"/>
                  </a:moveTo>
                  <a:lnTo>
                    <a:pt x="2020" y="2037"/>
                  </a:lnTo>
                  <a:lnTo>
                    <a:pt x="2009" y="2038"/>
                  </a:lnTo>
                  <a:lnTo>
                    <a:pt x="1998" y="2039"/>
                  </a:lnTo>
                  <a:lnTo>
                    <a:pt x="1988" y="2042"/>
                  </a:lnTo>
                  <a:lnTo>
                    <a:pt x="1979" y="2046"/>
                  </a:lnTo>
                  <a:lnTo>
                    <a:pt x="1971" y="2050"/>
                  </a:lnTo>
                  <a:lnTo>
                    <a:pt x="1962" y="2057"/>
                  </a:lnTo>
                  <a:lnTo>
                    <a:pt x="1954" y="2062"/>
                  </a:lnTo>
                  <a:lnTo>
                    <a:pt x="1947" y="2070"/>
                  </a:lnTo>
                  <a:lnTo>
                    <a:pt x="1940" y="2078"/>
                  </a:lnTo>
                  <a:lnTo>
                    <a:pt x="1935" y="2087"/>
                  </a:lnTo>
                  <a:lnTo>
                    <a:pt x="1929" y="2097"/>
                  </a:lnTo>
                  <a:lnTo>
                    <a:pt x="1926" y="2107"/>
                  </a:lnTo>
                  <a:lnTo>
                    <a:pt x="1923" y="2118"/>
                  </a:lnTo>
                  <a:lnTo>
                    <a:pt x="1919" y="2130"/>
                  </a:lnTo>
                  <a:lnTo>
                    <a:pt x="1918" y="2141"/>
                  </a:lnTo>
                  <a:lnTo>
                    <a:pt x="1918" y="2155"/>
                  </a:lnTo>
                  <a:lnTo>
                    <a:pt x="1918" y="2155"/>
                  </a:lnTo>
                  <a:lnTo>
                    <a:pt x="1918" y="2167"/>
                  </a:lnTo>
                  <a:lnTo>
                    <a:pt x="1919" y="2179"/>
                  </a:lnTo>
                  <a:lnTo>
                    <a:pt x="1923" y="2190"/>
                  </a:lnTo>
                  <a:lnTo>
                    <a:pt x="1926" y="2201"/>
                  </a:lnTo>
                  <a:lnTo>
                    <a:pt x="1929" y="2211"/>
                  </a:lnTo>
                  <a:lnTo>
                    <a:pt x="1935" y="2221"/>
                  </a:lnTo>
                  <a:lnTo>
                    <a:pt x="1940" y="2230"/>
                  </a:lnTo>
                  <a:lnTo>
                    <a:pt x="1947" y="2238"/>
                  </a:lnTo>
                  <a:lnTo>
                    <a:pt x="1954" y="2246"/>
                  </a:lnTo>
                  <a:lnTo>
                    <a:pt x="1962" y="2252"/>
                  </a:lnTo>
                  <a:lnTo>
                    <a:pt x="1971" y="2258"/>
                  </a:lnTo>
                  <a:lnTo>
                    <a:pt x="1979" y="2262"/>
                  </a:lnTo>
                  <a:lnTo>
                    <a:pt x="1988" y="2266"/>
                  </a:lnTo>
                  <a:lnTo>
                    <a:pt x="1998" y="2269"/>
                  </a:lnTo>
                  <a:lnTo>
                    <a:pt x="2009" y="2270"/>
                  </a:lnTo>
                  <a:lnTo>
                    <a:pt x="2020" y="2271"/>
                  </a:lnTo>
                  <a:lnTo>
                    <a:pt x="2020" y="2271"/>
                  </a:lnTo>
                  <a:lnTo>
                    <a:pt x="2031" y="2270"/>
                  </a:lnTo>
                  <a:lnTo>
                    <a:pt x="2042" y="2269"/>
                  </a:lnTo>
                  <a:lnTo>
                    <a:pt x="2052" y="2266"/>
                  </a:lnTo>
                  <a:lnTo>
                    <a:pt x="2061" y="2262"/>
                  </a:lnTo>
                  <a:lnTo>
                    <a:pt x="2070" y="2258"/>
                  </a:lnTo>
                  <a:lnTo>
                    <a:pt x="2079" y="2252"/>
                  </a:lnTo>
                  <a:lnTo>
                    <a:pt x="2086" y="2246"/>
                  </a:lnTo>
                  <a:lnTo>
                    <a:pt x="2093" y="2238"/>
                  </a:lnTo>
                  <a:lnTo>
                    <a:pt x="2100" y="2230"/>
                  </a:lnTo>
                  <a:lnTo>
                    <a:pt x="2105" y="2221"/>
                  </a:lnTo>
                  <a:lnTo>
                    <a:pt x="2110" y="2211"/>
                  </a:lnTo>
                  <a:lnTo>
                    <a:pt x="2114" y="2201"/>
                  </a:lnTo>
                  <a:lnTo>
                    <a:pt x="2117" y="2190"/>
                  </a:lnTo>
                  <a:lnTo>
                    <a:pt x="2120" y="2179"/>
                  </a:lnTo>
                  <a:lnTo>
                    <a:pt x="2122" y="2167"/>
                  </a:lnTo>
                  <a:lnTo>
                    <a:pt x="2122" y="2155"/>
                  </a:lnTo>
                  <a:lnTo>
                    <a:pt x="2122" y="2155"/>
                  </a:lnTo>
                  <a:lnTo>
                    <a:pt x="2122" y="2141"/>
                  </a:lnTo>
                  <a:lnTo>
                    <a:pt x="2120" y="2130"/>
                  </a:lnTo>
                  <a:lnTo>
                    <a:pt x="2117" y="2118"/>
                  </a:lnTo>
                  <a:lnTo>
                    <a:pt x="2114" y="2107"/>
                  </a:lnTo>
                  <a:lnTo>
                    <a:pt x="2110" y="2097"/>
                  </a:lnTo>
                  <a:lnTo>
                    <a:pt x="2105" y="2087"/>
                  </a:lnTo>
                  <a:lnTo>
                    <a:pt x="2100" y="2078"/>
                  </a:lnTo>
                  <a:lnTo>
                    <a:pt x="2093" y="2070"/>
                  </a:lnTo>
                  <a:lnTo>
                    <a:pt x="2086" y="2062"/>
                  </a:lnTo>
                  <a:lnTo>
                    <a:pt x="2079" y="2057"/>
                  </a:lnTo>
                  <a:lnTo>
                    <a:pt x="2070" y="2050"/>
                  </a:lnTo>
                  <a:lnTo>
                    <a:pt x="2061" y="2046"/>
                  </a:lnTo>
                  <a:lnTo>
                    <a:pt x="2052" y="2042"/>
                  </a:lnTo>
                  <a:lnTo>
                    <a:pt x="2042" y="2039"/>
                  </a:lnTo>
                  <a:lnTo>
                    <a:pt x="2031" y="2038"/>
                  </a:lnTo>
                  <a:lnTo>
                    <a:pt x="2020" y="2037"/>
                  </a:lnTo>
                  <a:lnTo>
                    <a:pt x="2020" y="2037"/>
                  </a:lnTo>
                  <a:lnTo>
                    <a:pt x="2020" y="2037"/>
                  </a:lnTo>
                  <a:close/>
                  <a:moveTo>
                    <a:pt x="2020" y="2219"/>
                  </a:moveTo>
                  <a:lnTo>
                    <a:pt x="2020" y="2219"/>
                  </a:lnTo>
                  <a:lnTo>
                    <a:pt x="2009" y="2218"/>
                  </a:lnTo>
                  <a:lnTo>
                    <a:pt x="2002" y="2215"/>
                  </a:lnTo>
                  <a:lnTo>
                    <a:pt x="1994" y="2209"/>
                  </a:lnTo>
                  <a:lnTo>
                    <a:pt x="1987" y="2201"/>
                  </a:lnTo>
                  <a:lnTo>
                    <a:pt x="1982" y="2192"/>
                  </a:lnTo>
                  <a:lnTo>
                    <a:pt x="1977" y="2181"/>
                  </a:lnTo>
                  <a:lnTo>
                    <a:pt x="1975" y="2168"/>
                  </a:lnTo>
                  <a:lnTo>
                    <a:pt x="1975" y="2155"/>
                  </a:lnTo>
                  <a:lnTo>
                    <a:pt x="1975" y="2155"/>
                  </a:lnTo>
                  <a:lnTo>
                    <a:pt x="1975" y="2140"/>
                  </a:lnTo>
                  <a:lnTo>
                    <a:pt x="1977" y="2128"/>
                  </a:lnTo>
                  <a:lnTo>
                    <a:pt x="1982" y="2117"/>
                  </a:lnTo>
                  <a:lnTo>
                    <a:pt x="1987" y="2107"/>
                  </a:lnTo>
                  <a:lnTo>
                    <a:pt x="1994" y="2099"/>
                  </a:lnTo>
                  <a:lnTo>
                    <a:pt x="2002" y="2093"/>
                  </a:lnTo>
                  <a:lnTo>
                    <a:pt x="2009" y="2090"/>
                  </a:lnTo>
                  <a:lnTo>
                    <a:pt x="2020" y="2089"/>
                  </a:lnTo>
                  <a:lnTo>
                    <a:pt x="2020" y="2089"/>
                  </a:lnTo>
                  <a:lnTo>
                    <a:pt x="2030" y="2090"/>
                  </a:lnTo>
                  <a:lnTo>
                    <a:pt x="2038" y="2093"/>
                  </a:lnTo>
                  <a:lnTo>
                    <a:pt x="2046" y="2099"/>
                  </a:lnTo>
                  <a:lnTo>
                    <a:pt x="2053" y="2107"/>
                  </a:lnTo>
                  <a:lnTo>
                    <a:pt x="2058" y="2117"/>
                  </a:lnTo>
                  <a:lnTo>
                    <a:pt x="2062" y="2128"/>
                  </a:lnTo>
                  <a:lnTo>
                    <a:pt x="2064" y="2140"/>
                  </a:lnTo>
                  <a:lnTo>
                    <a:pt x="2065" y="2155"/>
                  </a:lnTo>
                  <a:lnTo>
                    <a:pt x="2065" y="2155"/>
                  </a:lnTo>
                  <a:lnTo>
                    <a:pt x="2064" y="2168"/>
                  </a:lnTo>
                  <a:lnTo>
                    <a:pt x="2062" y="2181"/>
                  </a:lnTo>
                  <a:lnTo>
                    <a:pt x="2058" y="2192"/>
                  </a:lnTo>
                  <a:lnTo>
                    <a:pt x="2053" y="2201"/>
                  </a:lnTo>
                  <a:lnTo>
                    <a:pt x="2046" y="2209"/>
                  </a:lnTo>
                  <a:lnTo>
                    <a:pt x="2038" y="2215"/>
                  </a:lnTo>
                  <a:lnTo>
                    <a:pt x="2030" y="2218"/>
                  </a:lnTo>
                  <a:lnTo>
                    <a:pt x="2020" y="2219"/>
                  </a:lnTo>
                  <a:lnTo>
                    <a:pt x="2020" y="2219"/>
                  </a:lnTo>
                  <a:lnTo>
                    <a:pt x="2020" y="2219"/>
                  </a:lnTo>
                  <a:close/>
                  <a:moveTo>
                    <a:pt x="844" y="2116"/>
                  </a:moveTo>
                  <a:lnTo>
                    <a:pt x="912" y="2266"/>
                  </a:lnTo>
                  <a:lnTo>
                    <a:pt x="851" y="2266"/>
                  </a:lnTo>
                  <a:lnTo>
                    <a:pt x="804" y="2162"/>
                  </a:lnTo>
                  <a:lnTo>
                    <a:pt x="774" y="2199"/>
                  </a:lnTo>
                  <a:lnTo>
                    <a:pt x="774" y="2266"/>
                  </a:lnTo>
                  <a:lnTo>
                    <a:pt x="719" y="2266"/>
                  </a:lnTo>
                  <a:lnTo>
                    <a:pt x="719" y="1977"/>
                  </a:lnTo>
                  <a:lnTo>
                    <a:pt x="774" y="1949"/>
                  </a:lnTo>
                  <a:lnTo>
                    <a:pt x="774" y="2128"/>
                  </a:lnTo>
                  <a:lnTo>
                    <a:pt x="774" y="2128"/>
                  </a:lnTo>
                  <a:lnTo>
                    <a:pt x="795" y="2099"/>
                  </a:lnTo>
                  <a:lnTo>
                    <a:pt x="839" y="2042"/>
                  </a:lnTo>
                  <a:lnTo>
                    <a:pt x="904" y="2042"/>
                  </a:lnTo>
                  <a:lnTo>
                    <a:pt x="844" y="2116"/>
                  </a:lnTo>
                  <a:lnTo>
                    <a:pt x="844" y="2116"/>
                  </a:lnTo>
                  <a:close/>
                  <a:moveTo>
                    <a:pt x="1107" y="2266"/>
                  </a:moveTo>
                  <a:lnTo>
                    <a:pt x="1051" y="2266"/>
                  </a:lnTo>
                  <a:lnTo>
                    <a:pt x="1051" y="2042"/>
                  </a:lnTo>
                  <a:lnTo>
                    <a:pt x="1107" y="2042"/>
                  </a:lnTo>
                  <a:lnTo>
                    <a:pt x="1107" y="2061"/>
                  </a:lnTo>
                  <a:lnTo>
                    <a:pt x="1107" y="2061"/>
                  </a:lnTo>
                  <a:lnTo>
                    <a:pt x="1112" y="2056"/>
                  </a:lnTo>
                  <a:lnTo>
                    <a:pt x="1118" y="2051"/>
                  </a:lnTo>
                  <a:lnTo>
                    <a:pt x="1124" y="2047"/>
                  </a:lnTo>
                  <a:lnTo>
                    <a:pt x="1131" y="2043"/>
                  </a:lnTo>
                  <a:lnTo>
                    <a:pt x="1139" y="2041"/>
                  </a:lnTo>
                  <a:lnTo>
                    <a:pt x="1147" y="2039"/>
                  </a:lnTo>
                  <a:lnTo>
                    <a:pt x="1154" y="2038"/>
                  </a:lnTo>
                  <a:lnTo>
                    <a:pt x="1163" y="2037"/>
                  </a:lnTo>
                  <a:lnTo>
                    <a:pt x="1163" y="2037"/>
                  </a:lnTo>
                  <a:lnTo>
                    <a:pt x="1173" y="2038"/>
                  </a:lnTo>
                  <a:lnTo>
                    <a:pt x="1182" y="2039"/>
                  </a:lnTo>
                  <a:lnTo>
                    <a:pt x="1190" y="2041"/>
                  </a:lnTo>
                  <a:lnTo>
                    <a:pt x="1199" y="2043"/>
                  </a:lnTo>
                  <a:lnTo>
                    <a:pt x="1206" y="2048"/>
                  </a:lnTo>
                  <a:lnTo>
                    <a:pt x="1212" y="2052"/>
                  </a:lnTo>
                  <a:lnTo>
                    <a:pt x="1219" y="2057"/>
                  </a:lnTo>
                  <a:lnTo>
                    <a:pt x="1225" y="2063"/>
                  </a:lnTo>
                  <a:lnTo>
                    <a:pt x="1229" y="2070"/>
                  </a:lnTo>
                  <a:lnTo>
                    <a:pt x="1234" y="2078"/>
                  </a:lnTo>
                  <a:lnTo>
                    <a:pt x="1237" y="2086"/>
                  </a:lnTo>
                  <a:lnTo>
                    <a:pt x="1240" y="2096"/>
                  </a:lnTo>
                  <a:lnTo>
                    <a:pt x="1242" y="2106"/>
                  </a:lnTo>
                  <a:lnTo>
                    <a:pt x="1244" y="2116"/>
                  </a:lnTo>
                  <a:lnTo>
                    <a:pt x="1245" y="2127"/>
                  </a:lnTo>
                  <a:lnTo>
                    <a:pt x="1246" y="2139"/>
                  </a:lnTo>
                  <a:lnTo>
                    <a:pt x="1246" y="2266"/>
                  </a:lnTo>
                  <a:lnTo>
                    <a:pt x="1190" y="2266"/>
                  </a:lnTo>
                  <a:lnTo>
                    <a:pt x="1190" y="2142"/>
                  </a:lnTo>
                  <a:lnTo>
                    <a:pt x="1190" y="2142"/>
                  </a:lnTo>
                  <a:lnTo>
                    <a:pt x="1189" y="2130"/>
                  </a:lnTo>
                  <a:lnTo>
                    <a:pt x="1188" y="2118"/>
                  </a:lnTo>
                  <a:lnTo>
                    <a:pt x="1185" y="2109"/>
                  </a:lnTo>
                  <a:lnTo>
                    <a:pt x="1180" y="2101"/>
                  </a:lnTo>
                  <a:lnTo>
                    <a:pt x="1175" y="2096"/>
                  </a:lnTo>
                  <a:lnTo>
                    <a:pt x="1168" y="2091"/>
                  </a:lnTo>
                  <a:lnTo>
                    <a:pt x="1159" y="2089"/>
                  </a:lnTo>
                  <a:lnTo>
                    <a:pt x="1149" y="2088"/>
                  </a:lnTo>
                  <a:lnTo>
                    <a:pt x="1149" y="2088"/>
                  </a:lnTo>
                  <a:lnTo>
                    <a:pt x="1140" y="2089"/>
                  </a:lnTo>
                  <a:lnTo>
                    <a:pt x="1131" y="2091"/>
                  </a:lnTo>
                  <a:lnTo>
                    <a:pt x="1123" y="2096"/>
                  </a:lnTo>
                  <a:lnTo>
                    <a:pt x="1118" y="2102"/>
                  </a:lnTo>
                  <a:lnTo>
                    <a:pt x="1113" y="2109"/>
                  </a:lnTo>
                  <a:lnTo>
                    <a:pt x="1110" y="2119"/>
                  </a:lnTo>
                  <a:lnTo>
                    <a:pt x="1108" y="2130"/>
                  </a:lnTo>
                  <a:lnTo>
                    <a:pt x="1107" y="2142"/>
                  </a:lnTo>
                  <a:lnTo>
                    <a:pt x="1107" y="2266"/>
                  </a:lnTo>
                  <a:lnTo>
                    <a:pt x="1107" y="2266"/>
                  </a:lnTo>
                  <a:close/>
                  <a:moveTo>
                    <a:pt x="1421" y="2058"/>
                  </a:moveTo>
                  <a:lnTo>
                    <a:pt x="1421" y="2058"/>
                  </a:lnTo>
                  <a:lnTo>
                    <a:pt x="1415" y="2053"/>
                  </a:lnTo>
                  <a:lnTo>
                    <a:pt x="1409" y="2049"/>
                  </a:lnTo>
                  <a:lnTo>
                    <a:pt x="1404" y="2046"/>
                  </a:lnTo>
                  <a:lnTo>
                    <a:pt x="1397" y="2042"/>
                  </a:lnTo>
                  <a:lnTo>
                    <a:pt x="1391" y="2040"/>
                  </a:lnTo>
                  <a:lnTo>
                    <a:pt x="1384" y="2039"/>
                  </a:lnTo>
                  <a:lnTo>
                    <a:pt x="1377" y="2038"/>
                  </a:lnTo>
                  <a:lnTo>
                    <a:pt x="1370" y="2037"/>
                  </a:lnTo>
                  <a:lnTo>
                    <a:pt x="1370" y="2037"/>
                  </a:lnTo>
                  <a:lnTo>
                    <a:pt x="1360" y="2038"/>
                  </a:lnTo>
                  <a:lnTo>
                    <a:pt x="1352" y="2039"/>
                  </a:lnTo>
                  <a:lnTo>
                    <a:pt x="1343" y="2041"/>
                  </a:lnTo>
                  <a:lnTo>
                    <a:pt x="1334" y="2046"/>
                  </a:lnTo>
                  <a:lnTo>
                    <a:pt x="1326" y="2049"/>
                  </a:lnTo>
                  <a:lnTo>
                    <a:pt x="1319" y="2055"/>
                  </a:lnTo>
                  <a:lnTo>
                    <a:pt x="1313" y="2061"/>
                  </a:lnTo>
                  <a:lnTo>
                    <a:pt x="1306" y="2068"/>
                  </a:lnTo>
                  <a:lnTo>
                    <a:pt x="1300" y="2076"/>
                  </a:lnTo>
                  <a:lnTo>
                    <a:pt x="1296" y="2085"/>
                  </a:lnTo>
                  <a:lnTo>
                    <a:pt x="1291" y="2093"/>
                  </a:lnTo>
                  <a:lnTo>
                    <a:pt x="1288" y="2105"/>
                  </a:lnTo>
                  <a:lnTo>
                    <a:pt x="1286" y="2115"/>
                  </a:lnTo>
                  <a:lnTo>
                    <a:pt x="1284" y="2127"/>
                  </a:lnTo>
                  <a:lnTo>
                    <a:pt x="1283" y="2139"/>
                  </a:lnTo>
                  <a:lnTo>
                    <a:pt x="1283" y="2151"/>
                  </a:lnTo>
                  <a:lnTo>
                    <a:pt x="1283" y="2151"/>
                  </a:lnTo>
                  <a:lnTo>
                    <a:pt x="1283" y="2166"/>
                  </a:lnTo>
                  <a:lnTo>
                    <a:pt x="1284" y="2178"/>
                  </a:lnTo>
                  <a:lnTo>
                    <a:pt x="1286" y="2190"/>
                  </a:lnTo>
                  <a:lnTo>
                    <a:pt x="1288" y="2202"/>
                  </a:lnTo>
                  <a:lnTo>
                    <a:pt x="1291" y="2212"/>
                  </a:lnTo>
                  <a:lnTo>
                    <a:pt x="1296" y="2222"/>
                  </a:lnTo>
                  <a:lnTo>
                    <a:pt x="1300" y="2231"/>
                  </a:lnTo>
                  <a:lnTo>
                    <a:pt x="1306" y="2239"/>
                  </a:lnTo>
                  <a:lnTo>
                    <a:pt x="1311" y="2247"/>
                  </a:lnTo>
                  <a:lnTo>
                    <a:pt x="1318" y="2252"/>
                  </a:lnTo>
                  <a:lnTo>
                    <a:pt x="1325" y="2258"/>
                  </a:lnTo>
                  <a:lnTo>
                    <a:pt x="1333" y="2262"/>
                  </a:lnTo>
                  <a:lnTo>
                    <a:pt x="1342" y="2266"/>
                  </a:lnTo>
                  <a:lnTo>
                    <a:pt x="1350" y="2269"/>
                  </a:lnTo>
                  <a:lnTo>
                    <a:pt x="1359" y="2270"/>
                  </a:lnTo>
                  <a:lnTo>
                    <a:pt x="1369" y="2271"/>
                  </a:lnTo>
                  <a:lnTo>
                    <a:pt x="1369" y="2271"/>
                  </a:lnTo>
                  <a:lnTo>
                    <a:pt x="1376" y="2270"/>
                  </a:lnTo>
                  <a:lnTo>
                    <a:pt x="1384" y="2269"/>
                  </a:lnTo>
                  <a:lnTo>
                    <a:pt x="1391" y="2268"/>
                  </a:lnTo>
                  <a:lnTo>
                    <a:pt x="1397" y="2266"/>
                  </a:lnTo>
                  <a:lnTo>
                    <a:pt x="1403" y="2262"/>
                  </a:lnTo>
                  <a:lnTo>
                    <a:pt x="1409" y="2259"/>
                  </a:lnTo>
                  <a:lnTo>
                    <a:pt x="1415" y="2255"/>
                  </a:lnTo>
                  <a:lnTo>
                    <a:pt x="1421" y="2249"/>
                  </a:lnTo>
                  <a:lnTo>
                    <a:pt x="1421" y="2255"/>
                  </a:lnTo>
                  <a:lnTo>
                    <a:pt x="1421" y="2255"/>
                  </a:lnTo>
                  <a:lnTo>
                    <a:pt x="1421" y="2264"/>
                  </a:lnTo>
                  <a:lnTo>
                    <a:pt x="1419" y="2274"/>
                  </a:lnTo>
                  <a:lnTo>
                    <a:pt x="1416" y="2284"/>
                  </a:lnTo>
                  <a:lnTo>
                    <a:pt x="1414" y="2288"/>
                  </a:lnTo>
                  <a:lnTo>
                    <a:pt x="1412" y="2293"/>
                  </a:lnTo>
                  <a:lnTo>
                    <a:pt x="1407" y="2297"/>
                  </a:lnTo>
                  <a:lnTo>
                    <a:pt x="1403" y="2301"/>
                  </a:lnTo>
                  <a:lnTo>
                    <a:pt x="1397" y="2305"/>
                  </a:lnTo>
                  <a:lnTo>
                    <a:pt x="1391" y="2308"/>
                  </a:lnTo>
                  <a:lnTo>
                    <a:pt x="1382" y="2310"/>
                  </a:lnTo>
                  <a:lnTo>
                    <a:pt x="1373" y="2313"/>
                  </a:lnTo>
                  <a:lnTo>
                    <a:pt x="1362" y="2314"/>
                  </a:lnTo>
                  <a:lnTo>
                    <a:pt x="1348" y="2314"/>
                  </a:lnTo>
                  <a:lnTo>
                    <a:pt x="1346" y="2314"/>
                  </a:lnTo>
                  <a:lnTo>
                    <a:pt x="1366" y="2357"/>
                  </a:lnTo>
                  <a:lnTo>
                    <a:pt x="1367" y="2357"/>
                  </a:lnTo>
                  <a:lnTo>
                    <a:pt x="1367" y="2357"/>
                  </a:lnTo>
                  <a:lnTo>
                    <a:pt x="1380" y="2357"/>
                  </a:lnTo>
                  <a:lnTo>
                    <a:pt x="1393" y="2356"/>
                  </a:lnTo>
                  <a:lnTo>
                    <a:pt x="1404" y="2353"/>
                  </a:lnTo>
                  <a:lnTo>
                    <a:pt x="1415" y="2350"/>
                  </a:lnTo>
                  <a:lnTo>
                    <a:pt x="1425" y="2346"/>
                  </a:lnTo>
                  <a:lnTo>
                    <a:pt x="1434" y="2341"/>
                  </a:lnTo>
                  <a:lnTo>
                    <a:pt x="1442" y="2336"/>
                  </a:lnTo>
                  <a:lnTo>
                    <a:pt x="1448" y="2329"/>
                  </a:lnTo>
                  <a:lnTo>
                    <a:pt x="1455" y="2321"/>
                  </a:lnTo>
                  <a:lnTo>
                    <a:pt x="1461" y="2314"/>
                  </a:lnTo>
                  <a:lnTo>
                    <a:pt x="1465" y="2304"/>
                  </a:lnTo>
                  <a:lnTo>
                    <a:pt x="1468" y="2294"/>
                  </a:lnTo>
                  <a:lnTo>
                    <a:pt x="1472" y="2284"/>
                  </a:lnTo>
                  <a:lnTo>
                    <a:pt x="1474" y="2271"/>
                  </a:lnTo>
                  <a:lnTo>
                    <a:pt x="1475" y="2259"/>
                  </a:lnTo>
                  <a:lnTo>
                    <a:pt x="1475" y="2246"/>
                  </a:lnTo>
                  <a:lnTo>
                    <a:pt x="1475" y="2042"/>
                  </a:lnTo>
                  <a:lnTo>
                    <a:pt x="1421" y="2042"/>
                  </a:lnTo>
                  <a:lnTo>
                    <a:pt x="1421" y="2058"/>
                  </a:lnTo>
                  <a:lnTo>
                    <a:pt x="1421" y="2058"/>
                  </a:lnTo>
                  <a:close/>
                  <a:moveTo>
                    <a:pt x="1421" y="2110"/>
                  </a:moveTo>
                  <a:lnTo>
                    <a:pt x="1421" y="2198"/>
                  </a:lnTo>
                  <a:lnTo>
                    <a:pt x="1421" y="2198"/>
                  </a:lnTo>
                  <a:lnTo>
                    <a:pt x="1413" y="2206"/>
                  </a:lnTo>
                  <a:lnTo>
                    <a:pt x="1405" y="2214"/>
                  </a:lnTo>
                  <a:lnTo>
                    <a:pt x="1399" y="2216"/>
                  </a:lnTo>
                  <a:lnTo>
                    <a:pt x="1394" y="2218"/>
                  </a:lnTo>
                  <a:lnTo>
                    <a:pt x="1388" y="2219"/>
                  </a:lnTo>
                  <a:lnTo>
                    <a:pt x="1380" y="2220"/>
                  </a:lnTo>
                  <a:lnTo>
                    <a:pt x="1380" y="2220"/>
                  </a:lnTo>
                  <a:lnTo>
                    <a:pt x="1374" y="2219"/>
                  </a:lnTo>
                  <a:lnTo>
                    <a:pt x="1366" y="2217"/>
                  </a:lnTo>
                  <a:lnTo>
                    <a:pt x="1359" y="2214"/>
                  </a:lnTo>
                  <a:lnTo>
                    <a:pt x="1353" y="2207"/>
                  </a:lnTo>
                  <a:lnTo>
                    <a:pt x="1347" y="2198"/>
                  </a:lnTo>
                  <a:lnTo>
                    <a:pt x="1343" y="2186"/>
                  </a:lnTo>
                  <a:lnTo>
                    <a:pt x="1340" y="2170"/>
                  </a:lnTo>
                  <a:lnTo>
                    <a:pt x="1339" y="2150"/>
                  </a:lnTo>
                  <a:lnTo>
                    <a:pt x="1339" y="2150"/>
                  </a:lnTo>
                  <a:lnTo>
                    <a:pt x="1340" y="2133"/>
                  </a:lnTo>
                  <a:lnTo>
                    <a:pt x="1343" y="2119"/>
                  </a:lnTo>
                  <a:lnTo>
                    <a:pt x="1347" y="2108"/>
                  </a:lnTo>
                  <a:lnTo>
                    <a:pt x="1353" y="2100"/>
                  </a:lnTo>
                  <a:lnTo>
                    <a:pt x="1359" y="2095"/>
                  </a:lnTo>
                  <a:lnTo>
                    <a:pt x="1366" y="2090"/>
                  </a:lnTo>
                  <a:lnTo>
                    <a:pt x="1374" y="2089"/>
                  </a:lnTo>
                  <a:lnTo>
                    <a:pt x="1380" y="2088"/>
                  </a:lnTo>
                  <a:lnTo>
                    <a:pt x="1380" y="2088"/>
                  </a:lnTo>
                  <a:lnTo>
                    <a:pt x="1388" y="2089"/>
                  </a:lnTo>
                  <a:lnTo>
                    <a:pt x="1395" y="2090"/>
                  </a:lnTo>
                  <a:lnTo>
                    <a:pt x="1401" y="2092"/>
                  </a:lnTo>
                  <a:lnTo>
                    <a:pt x="1406" y="2096"/>
                  </a:lnTo>
                  <a:lnTo>
                    <a:pt x="1411" y="2099"/>
                  </a:lnTo>
                  <a:lnTo>
                    <a:pt x="1414" y="2102"/>
                  </a:lnTo>
                  <a:lnTo>
                    <a:pt x="1421" y="2110"/>
                  </a:lnTo>
                  <a:lnTo>
                    <a:pt x="1421" y="2110"/>
                  </a:lnTo>
                  <a:lnTo>
                    <a:pt x="1421" y="2110"/>
                  </a:lnTo>
                  <a:close/>
                  <a:moveTo>
                    <a:pt x="946" y="2042"/>
                  </a:moveTo>
                  <a:lnTo>
                    <a:pt x="1002" y="2042"/>
                  </a:lnTo>
                  <a:lnTo>
                    <a:pt x="1002" y="2141"/>
                  </a:lnTo>
                  <a:lnTo>
                    <a:pt x="1002" y="2266"/>
                  </a:lnTo>
                  <a:lnTo>
                    <a:pt x="946" y="2266"/>
                  </a:lnTo>
                  <a:lnTo>
                    <a:pt x="946" y="2042"/>
                  </a:lnTo>
                  <a:lnTo>
                    <a:pt x="946" y="2042"/>
                  </a:lnTo>
                  <a:close/>
                  <a:moveTo>
                    <a:pt x="1002" y="1982"/>
                  </a:moveTo>
                  <a:lnTo>
                    <a:pt x="1002" y="2010"/>
                  </a:lnTo>
                  <a:lnTo>
                    <a:pt x="946" y="2010"/>
                  </a:lnTo>
                  <a:lnTo>
                    <a:pt x="946" y="1954"/>
                  </a:lnTo>
                  <a:lnTo>
                    <a:pt x="1002" y="1954"/>
                  </a:lnTo>
                  <a:lnTo>
                    <a:pt x="1002" y="1982"/>
                  </a:lnTo>
                  <a:lnTo>
                    <a:pt x="1002" y="1982"/>
                  </a:lnTo>
                  <a:close/>
                  <a:moveTo>
                    <a:pt x="2329" y="1977"/>
                  </a:moveTo>
                  <a:lnTo>
                    <a:pt x="2385" y="1949"/>
                  </a:lnTo>
                  <a:lnTo>
                    <a:pt x="2385" y="2151"/>
                  </a:lnTo>
                  <a:lnTo>
                    <a:pt x="2385" y="2266"/>
                  </a:lnTo>
                  <a:lnTo>
                    <a:pt x="2329" y="2266"/>
                  </a:lnTo>
                  <a:lnTo>
                    <a:pt x="2329" y="1977"/>
                  </a:lnTo>
                  <a:lnTo>
                    <a:pt x="2329" y="1977"/>
                  </a:lnTo>
                  <a:close/>
                  <a:moveTo>
                    <a:pt x="401" y="762"/>
                  </a:moveTo>
                  <a:lnTo>
                    <a:pt x="857" y="762"/>
                  </a:lnTo>
                  <a:lnTo>
                    <a:pt x="857" y="498"/>
                  </a:lnTo>
                  <a:lnTo>
                    <a:pt x="401" y="498"/>
                  </a:lnTo>
                  <a:lnTo>
                    <a:pt x="401" y="290"/>
                  </a:lnTo>
                  <a:lnTo>
                    <a:pt x="906" y="290"/>
                  </a:lnTo>
                  <a:lnTo>
                    <a:pt x="738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2" y="1261"/>
                  </a:lnTo>
                  <a:lnTo>
                    <a:pt x="1032" y="970"/>
                  </a:lnTo>
                  <a:lnTo>
                    <a:pt x="401" y="970"/>
                  </a:lnTo>
                  <a:lnTo>
                    <a:pt x="401" y="762"/>
                  </a:lnTo>
                  <a:lnTo>
                    <a:pt x="401" y="762"/>
                  </a:lnTo>
                  <a:close/>
                  <a:moveTo>
                    <a:pt x="1704" y="0"/>
                  </a:moveTo>
                  <a:lnTo>
                    <a:pt x="1490" y="411"/>
                  </a:lnTo>
                  <a:lnTo>
                    <a:pt x="1276" y="0"/>
                  </a:lnTo>
                  <a:lnTo>
                    <a:pt x="857" y="0"/>
                  </a:lnTo>
                  <a:lnTo>
                    <a:pt x="1298" y="762"/>
                  </a:lnTo>
                  <a:lnTo>
                    <a:pt x="1298" y="1261"/>
                  </a:lnTo>
                  <a:lnTo>
                    <a:pt x="1676" y="1261"/>
                  </a:lnTo>
                  <a:lnTo>
                    <a:pt x="1676" y="762"/>
                  </a:lnTo>
                  <a:lnTo>
                    <a:pt x="2117" y="0"/>
                  </a:lnTo>
                  <a:lnTo>
                    <a:pt x="1704" y="0"/>
                  </a:lnTo>
                  <a:lnTo>
                    <a:pt x="170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81057B5C-F748-4693-853B-63D4EB2A0A01}"/>
              </a:ext>
            </a:extLst>
          </p:cNvPr>
          <p:cNvSpPr txBox="1">
            <a:spLocks/>
          </p:cNvSpPr>
          <p:nvPr/>
        </p:nvSpPr>
        <p:spPr>
          <a:xfrm>
            <a:off x="598946" y="2436444"/>
            <a:ext cx="2641496" cy="4843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43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249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6854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anose="02000503020000020004" pitchFamily="2" charset="0"/>
                <a:ea typeface="+mj-ea"/>
                <a:cs typeface="Arial" pitchFamily="34" charset="0"/>
                <a:sym typeface="Arial"/>
              </a:rPr>
              <a:t>IronHack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" panose="02000503020000020004" pitchFamily="2" charset="0"/>
              <a:ea typeface="+mj-ea"/>
              <a:cs typeface="Arial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007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B58E41-F8CD-43A8-B9AD-2D3B6C4488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8278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0B58E41-F8CD-43A8-B9AD-2D3B6C448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44000" cy="442800"/>
          </a:xfrm>
        </p:spPr>
        <p:txBody>
          <a:bodyPr vert="horz" anchor="ctr"/>
          <a:lstStyle/>
          <a:p>
            <a:pPr algn="just" defTabSz="453296">
              <a:buClrTx/>
              <a:buFontTx/>
              <a:defRPr/>
            </a:pPr>
            <a:r>
              <a:rPr lang="es-ES" sz="2400" b="1" dirty="0">
                <a:solidFill>
                  <a:schemeClr val="bg2"/>
                </a:solidFill>
                <a:latin typeface="EYInterstate" panose="02000503020000020004" pitchFamily="2" charset="0"/>
              </a:rPr>
              <a:t>SQ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C68A46-D53F-4F97-9C58-D749FFE60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F1BC30E3-FFE5-4B91-AA19-87A149EBB9EE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  <a:sym typeface="Arial"/>
              </a:rPr>
              <a:pPr marL="0" marR="0" lvl="0" indent="0" algn="r" defTabSz="685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20" name="Rectangle 16">
            <a:extLst>
              <a:ext uri="{FF2B5EF4-FFF2-40B4-BE49-F238E27FC236}">
                <a16:creationId xmlns:a16="http://schemas.microsoft.com/office/drawing/2014/main" id="{2A8F22E4-E887-4A4D-8370-FBEF16D8C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65" cy="369332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altLang="es-ES" sz="600" b="0" i="0" u="none" strike="noStrike" kern="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endParaRPr kumimoji="0" lang="es-ES" alt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/>
              <a:sym typeface="Arial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2E65263F-204F-4F88-96EB-120212171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9715"/>
            <a:ext cx="65" cy="25776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9522" rIns="0" bIns="-952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/>
              <a:sym typeface="Arial"/>
            </a:endParaRPr>
          </a:p>
        </p:txBody>
      </p:sp>
      <p:sp>
        <p:nvSpPr>
          <p:cNvPr id="58" name="Date Placeholder 3">
            <a:extLst>
              <a:ext uri="{FF2B5EF4-FFF2-40B4-BE49-F238E27FC236}">
                <a16:creationId xmlns:a16="http://schemas.microsoft.com/office/drawing/2014/main" id="{1E4D2392-9ED4-439F-98A9-5ED47C9CAB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1662" y="4737006"/>
            <a:ext cx="1765139" cy="134929"/>
          </a:xfrm>
        </p:spPr>
        <p:txBody>
          <a:bodyPr/>
          <a:lstStyle/>
          <a:p>
            <a:pPr marL="0" marR="0" lvl="0" indent="0" algn="r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  <a:sym typeface="Arial"/>
              </a:rPr>
              <a:t>2022</a:t>
            </a: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1F995F01-4502-4416-B4B6-5EBA25B8717A}"/>
              </a:ext>
            </a:extLst>
          </p:cNvPr>
          <p:cNvCxnSpPr>
            <a:cxnSpLocks/>
          </p:cNvCxnSpPr>
          <p:nvPr/>
        </p:nvCxnSpPr>
        <p:spPr>
          <a:xfrm>
            <a:off x="3132031" y="1096348"/>
            <a:ext cx="0" cy="3422694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3BFFED19-E42A-45E2-9ED9-41973F9E3B13}"/>
              </a:ext>
            </a:extLst>
          </p:cNvPr>
          <p:cNvCxnSpPr>
            <a:cxnSpLocks/>
          </p:cNvCxnSpPr>
          <p:nvPr/>
        </p:nvCxnSpPr>
        <p:spPr>
          <a:xfrm>
            <a:off x="5923354" y="1140352"/>
            <a:ext cx="0" cy="337869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5BCD74F4-4BD9-4FB1-9728-81B0330F09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7040" y="2112552"/>
            <a:ext cx="2218658" cy="17579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5AD5B21-B722-41E8-A6D6-18E8C006FC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3769" y="2114961"/>
            <a:ext cx="2347847" cy="22485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24" name="Picture 223">
            <a:extLst>
              <a:ext uri="{FF2B5EF4-FFF2-40B4-BE49-F238E27FC236}">
                <a16:creationId xmlns:a16="http://schemas.microsoft.com/office/drawing/2014/main" id="{5B03B695-833E-4DCF-907D-CC63D8E1A1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87032" y="2112552"/>
            <a:ext cx="2491979" cy="7888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8DF1E0E8-25D7-4B41-8F02-A980ABA13DF2}"/>
              </a:ext>
            </a:extLst>
          </p:cNvPr>
          <p:cNvGrpSpPr/>
          <p:nvPr/>
        </p:nvGrpSpPr>
        <p:grpSpPr>
          <a:xfrm>
            <a:off x="6045765" y="1034974"/>
            <a:ext cx="2574513" cy="824084"/>
            <a:chOff x="6031760" y="1034974"/>
            <a:chExt cx="2574513" cy="824084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68D83E6C-2C5F-4A2F-80D0-C91EACBC21E6}"/>
                </a:ext>
              </a:extLst>
            </p:cNvPr>
            <p:cNvSpPr/>
            <p:nvPr/>
          </p:nvSpPr>
          <p:spPr>
            <a:xfrm>
              <a:off x="6031760" y="1034974"/>
              <a:ext cx="2574513" cy="824084"/>
            </a:xfrm>
            <a:prstGeom prst="rect">
              <a:avLst/>
            </a:prstGeom>
            <a:solidFill>
              <a:srgbClr val="0C3C3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37E7E20C-CE4D-4B0C-A099-A91536F1888D}"/>
                </a:ext>
              </a:extLst>
            </p:cNvPr>
            <p:cNvSpPr txBox="1"/>
            <p:nvPr/>
          </p:nvSpPr>
          <p:spPr>
            <a:xfrm>
              <a:off x="6824715" y="1077684"/>
              <a:ext cx="1707068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72000" bIns="0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marL="0" indent="0" algn="r" defTabSz="685800" eaLnBrk="1" fontAlgn="auto" latinLnBrk="0" hangingPunct="1">
                <a:buClrTx/>
                <a:buSzPct val="100000"/>
                <a:buFontTx/>
                <a:buNone/>
                <a:tabLst/>
                <a:defRPr kumimoji="0" sz="800" b="1" kern="1200" spc="0" normalizeH="0" baseline="0">
                  <a:ln>
                    <a:noFill/>
                  </a:ln>
                  <a:solidFill>
                    <a:srgbClr val="156967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</a:defRPr>
              </a:lvl1pPr>
            </a:lstStyle>
            <a:p>
              <a:pPr algn="l"/>
              <a:r>
                <a:rPr lang="es-ES" sz="2400" dirty="0" err="1">
                  <a:solidFill>
                    <a:schemeClr val="tx1"/>
                  </a:solidFill>
                </a:rPr>
                <a:t>Views</a:t>
              </a:r>
              <a:r>
                <a:rPr lang="es-ES" sz="2400" dirty="0">
                  <a:solidFill>
                    <a:schemeClr val="tx1"/>
                  </a:solidFill>
                </a:rPr>
                <a:t> &amp; </a:t>
              </a:r>
              <a:r>
                <a:rPr lang="es-ES" sz="2400" dirty="0" err="1">
                  <a:solidFill>
                    <a:schemeClr val="tx1"/>
                  </a:solidFill>
                </a:rPr>
                <a:t>Subqueries</a:t>
              </a:r>
              <a:endParaRPr lang="es-ES" sz="2400" dirty="0">
                <a:solidFill>
                  <a:schemeClr val="tx1"/>
                </a:solidFill>
              </a:endParaRPr>
            </a:p>
          </p:txBody>
        </p:sp>
        <p:pic>
          <p:nvPicPr>
            <p:cNvPr id="235" name="Graphic 234" descr="Eye with solid fill">
              <a:extLst>
                <a:ext uri="{FF2B5EF4-FFF2-40B4-BE49-F238E27FC236}">
                  <a16:creationId xmlns:a16="http://schemas.microsoft.com/office/drawing/2014/main" id="{887DC23C-07C7-4EC2-8807-E4B5CEB92DF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062105" y="1087016"/>
              <a:ext cx="720000" cy="720000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42973AD-4534-4AE8-B48C-B8D1FE81EB04}"/>
              </a:ext>
            </a:extLst>
          </p:cNvPr>
          <p:cNvGrpSpPr/>
          <p:nvPr/>
        </p:nvGrpSpPr>
        <p:grpSpPr>
          <a:xfrm>
            <a:off x="3240436" y="1034974"/>
            <a:ext cx="2574513" cy="824084"/>
            <a:chOff x="3207451" y="1034974"/>
            <a:chExt cx="2574513" cy="824084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F0D08744-1111-4B8A-9932-F9B81845E182}"/>
                </a:ext>
              </a:extLst>
            </p:cNvPr>
            <p:cNvSpPr/>
            <p:nvPr/>
          </p:nvSpPr>
          <p:spPr>
            <a:xfrm>
              <a:off x="3207451" y="1034974"/>
              <a:ext cx="2574513" cy="824084"/>
            </a:xfrm>
            <a:prstGeom prst="rect">
              <a:avLst/>
            </a:prstGeom>
            <a:solidFill>
              <a:srgbClr val="15696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FA67E00-DF5A-414F-8D09-E534A2F51AC2}"/>
                </a:ext>
              </a:extLst>
            </p:cNvPr>
            <p:cNvGrpSpPr/>
            <p:nvPr/>
          </p:nvGrpSpPr>
          <p:grpSpPr>
            <a:xfrm>
              <a:off x="3274922" y="1083355"/>
              <a:ext cx="2505542" cy="738664"/>
              <a:chOff x="3206899" y="1083355"/>
              <a:chExt cx="2505542" cy="738664"/>
            </a:xfrm>
          </p:grpSpPr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35607FB4-2EA8-43BC-AE40-5A829C2F718E}"/>
                  </a:ext>
                </a:extLst>
              </p:cNvPr>
              <p:cNvSpPr txBox="1"/>
              <p:nvPr/>
            </p:nvSpPr>
            <p:spPr>
              <a:xfrm>
                <a:off x="3921810" y="1083355"/>
                <a:ext cx="1790631" cy="738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72000" bIns="0" rtlCol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L="0" indent="0" algn="r" defTabSz="685800" eaLnBrk="1" fontAlgn="auto" latinLnBrk="0" hangingPunct="1">
                  <a:buClrTx/>
                  <a:buSzPct val="100000"/>
                  <a:buFontTx/>
                  <a:buNone/>
                  <a:tabLst/>
                  <a:defRPr kumimoji="0" sz="800" b="1" kern="1200" spc="0" normalizeH="0" baseline="0">
                    <a:ln>
                      <a:noFill/>
                    </a:ln>
                    <a:solidFill>
                      <a:srgbClr val="26B8B5"/>
                    </a:solidFill>
                    <a:effectLst/>
                    <a:uLnTx/>
                    <a:uFillTx/>
                    <a:latin typeface="EYInterstate" panose="02000503020000020004" pitchFamily="2" charset="0"/>
                    <a:ea typeface="+mn-ea"/>
                  </a:defRPr>
                </a:lvl1pPr>
              </a:lstStyle>
              <a:p>
                <a:pPr algn="l"/>
                <a:r>
                  <a:rPr lang="es-ES" sz="2400" dirty="0" err="1">
                    <a:solidFill>
                      <a:schemeClr val="tx1"/>
                    </a:solidFill>
                  </a:rPr>
                  <a:t>Multiple</a:t>
                </a:r>
                <a:r>
                  <a:rPr lang="es-ES" sz="2400" dirty="0">
                    <a:solidFill>
                      <a:schemeClr val="tx1"/>
                    </a:solidFill>
                  </a:rPr>
                  <a:t> </a:t>
                </a:r>
                <a:r>
                  <a:rPr lang="es-ES" sz="2400" dirty="0" err="1">
                    <a:solidFill>
                      <a:schemeClr val="tx1"/>
                    </a:solidFill>
                  </a:rPr>
                  <a:t>Filtering</a:t>
                </a:r>
                <a:endParaRPr lang="es-ES" sz="2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37" name="Graphic 236" descr="Filter with solid fill">
                <a:extLst>
                  <a:ext uri="{FF2B5EF4-FFF2-40B4-BE49-F238E27FC236}">
                    <a16:creationId xmlns:a16="http://schemas.microsoft.com/office/drawing/2014/main" id="{257B31CE-A5F3-41AB-BF1A-B46429256A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3206899" y="1087016"/>
                <a:ext cx="720000" cy="720000"/>
              </a:xfrm>
              <a:prstGeom prst="rect">
                <a:avLst/>
              </a:prstGeom>
            </p:spPr>
          </p:pic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7FCD43E-BDE8-452F-B5D1-2CBD27F798AA}"/>
              </a:ext>
            </a:extLst>
          </p:cNvPr>
          <p:cNvGrpSpPr/>
          <p:nvPr/>
        </p:nvGrpSpPr>
        <p:grpSpPr>
          <a:xfrm>
            <a:off x="449113" y="1034974"/>
            <a:ext cx="2574513" cy="824084"/>
            <a:chOff x="449113" y="1034974"/>
            <a:chExt cx="2574513" cy="82408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FF2497F-3396-4D71-AC37-F021A50B0E01}"/>
                </a:ext>
              </a:extLst>
            </p:cNvPr>
            <p:cNvSpPr/>
            <p:nvPr/>
          </p:nvSpPr>
          <p:spPr>
            <a:xfrm>
              <a:off x="449113" y="1034974"/>
              <a:ext cx="2574513" cy="824084"/>
            </a:xfrm>
            <a:prstGeom prst="rect">
              <a:avLst/>
            </a:prstGeom>
            <a:solidFill>
              <a:srgbClr val="26B8B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id="{F39DCC35-6C82-4A57-BA27-3A3A67C12EB6}"/>
                </a:ext>
              </a:extLst>
            </p:cNvPr>
            <p:cNvGrpSpPr/>
            <p:nvPr/>
          </p:nvGrpSpPr>
          <p:grpSpPr>
            <a:xfrm>
              <a:off x="465524" y="1106809"/>
              <a:ext cx="2453410" cy="738664"/>
              <a:chOff x="352521" y="963443"/>
              <a:chExt cx="2453410" cy="738664"/>
            </a:xfrm>
          </p:grpSpPr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2518E6BA-62B6-4FE6-AD4C-077136CA46F3}"/>
                  </a:ext>
                </a:extLst>
              </p:cNvPr>
              <p:cNvSpPr txBox="1"/>
              <p:nvPr/>
            </p:nvSpPr>
            <p:spPr>
              <a:xfrm>
                <a:off x="1138243" y="963443"/>
                <a:ext cx="1667688" cy="738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72000" bIns="0" rtlCol="0">
                <a:spAutoFit/>
              </a:bodyPr>
              <a:lstStyle/>
              <a:p>
                <a:pPr marL="0" marR="0" lvl="0" indent="0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s-ES" sz="2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EYInterstate" panose="02000503020000020004" pitchFamily="2" charset="0"/>
                    <a:ea typeface="+mn-ea"/>
                    <a:cs typeface="Arial"/>
                    <a:sym typeface="Arial"/>
                  </a:rPr>
                  <a:t>Grouping</a:t>
                </a:r>
                <a:r>
                  <a:rPr kumimoji="0" lang="es-E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EYInterstate" panose="02000503020000020004" pitchFamily="2" charset="0"/>
                    <a:ea typeface="+mn-ea"/>
                    <a:cs typeface="Arial"/>
                    <a:sym typeface="Arial"/>
                  </a:rPr>
                  <a:t> &amp; </a:t>
                </a:r>
                <a:r>
                  <a:rPr kumimoji="0" lang="es-ES" sz="2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EYInterstate" panose="02000503020000020004" pitchFamily="2" charset="0"/>
                    <a:ea typeface="+mn-ea"/>
                    <a:cs typeface="Arial"/>
                    <a:sym typeface="Arial"/>
                  </a:rPr>
                  <a:t>Ordering</a:t>
                </a:r>
                <a:endParaRPr kumimoji="0" lang="es-E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/>
                  <a:sym typeface="Arial"/>
                </a:endParaRPr>
              </a:p>
            </p:txBody>
          </p:sp>
          <p:pic>
            <p:nvPicPr>
              <p:cNvPr id="239" name="Graphic 238" descr="Flowchart with solid fill">
                <a:extLst>
                  <a:ext uri="{FF2B5EF4-FFF2-40B4-BE49-F238E27FC236}">
                    <a16:creationId xmlns:a16="http://schemas.microsoft.com/office/drawing/2014/main" id="{A179BA55-E4FD-4C5D-836F-7B73A58CF5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52521" y="972775"/>
                <a:ext cx="720000" cy="720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915111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B58E41-F8CD-43A8-B9AD-2D3B6C4488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446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0B58E41-F8CD-43A8-B9AD-2D3B6C448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44000" cy="442800"/>
          </a:xfrm>
        </p:spPr>
        <p:txBody>
          <a:bodyPr vert="horz" anchor="ctr"/>
          <a:lstStyle/>
          <a:p>
            <a:pPr algn="just" defTabSz="453296">
              <a:buClrTx/>
              <a:buFontTx/>
              <a:defRPr/>
            </a:pPr>
            <a:r>
              <a:rPr lang="es-ES" sz="2400" b="1" dirty="0">
                <a:solidFill>
                  <a:schemeClr val="bg2"/>
                </a:solidFill>
                <a:latin typeface="EYInterstate" panose="02000503020000020004" pitchFamily="2" charset="0"/>
              </a:rPr>
              <a:t>Python </a:t>
            </a:r>
          </a:p>
        </p:txBody>
      </p:sp>
      <p:sp>
        <p:nvSpPr>
          <p:cNvPr id="20" name="Rectangle 16">
            <a:extLst>
              <a:ext uri="{FF2B5EF4-FFF2-40B4-BE49-F238E27FC236}">
                <a16:creationId xmlns:a16="http://schemas.microsoft.com/office/drawing/2014/main" id="{2A8F22E4-E887-4A4D-8370-FBEF16D8C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65" cy="369332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altLang="es-ES" sz="600" b="0" i="0" u="none" strike="noStrike" kern="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endParaRPr kumimoji="0" lang="es-ES" alt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/>
              <a:sym typeface="Arial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2E65263F-204F-4F88-96EB-120212171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9715"/>
            <a:ext cx="65" cy="25776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9522" rIns="0" bIns="-952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/>
              <a:sym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AE13CD-B7CF-4C6A-9810-4804F3A6E2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6137" y="2744840"/>
            <a:ext cx="2090679" cy="1816791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F858205-0CF8-4C93-9123-964912128E4F}"/>
              </a:ext>
            </a:extLst>
          </p:cNvPr>
          <p:cNvGrpSpPr/>
          <p:nvPr/>
        </p:nvGrpSpPr>
        <p:grpSpPr>
          <a:xfrm>
            <a:off x="3315140" y="1435166"/>
            <a:ext cx="5277610" cy="900588"/>
            <a:chOff x="3096250" y="2169123"/>
            <a:chExt cx="5277610" cy="90058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E3DDF70-C478-4908-B98B-5BD4620A18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96250" y="2169123"/>
              <a:ext cx="1772312" cy="90058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FA2CAD0-F361-4FAB-80B1-781725BED6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68562" y="2169123"/>
              <a:ext cx="1729177" cy="900588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7F94640-CDB7-4F87-BA6A-702609C2E7E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0874" y="2169123"/>
              <a:ext cx="1732986" cy="900588"/>
            </a:xfrm>
            <a:prstGeom prst="rect">
              <a:avLst/>
            </a:prstGeom>
          </p:spPr>
        </p:pic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8D0C825F-E4D2-4A2B-8899-D1F56D7D2D1A}"/>
              </a:ext>
            </a:extLst>
          </p:cNvPr>
          <p:cNvSpPr/>
          <p:nvPr/>
        </p:nvSpPr>
        <p:spPr>
          <a:xfrm>
            <a:off x="467794" y="1122700"/>
            <a:ext cx="2759086" cy="1249797"/>
          </a:xfrm>
          <a:prstGeom prst="rect">
            <a:avLst/>
          </a:prstGeom>
          <a:noFill/>
          <a:ln w="19050">
            <a:solidFill>
              <a:srgbClr val="26B8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83E6190-F105-4AFE-A160-6910F2D0D721}"/>
              </a:ext>
            </a:extLst>
          </p:cNvPr>
          <p:cNvSpPr/>
          <p:nvPr/>
        </p:nvSpPr>
        <p:spPr>
          <a:xfrm>
            <a:off x="3315140" y="1122700"/>
            <a:ext cx="5361065" cy="1249797"/>
          </a:xfrm>
          <a:prstGeom prst="rect">
            <a:avLst/>
          </a:prstGeom>
          <a:noFill/>
          <a:ln w="19050">
            <a:solidFill>
              <a:srgbClr val="1C82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  <a:sym typeface="Arial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A0BC3D1-D95A-4F9B-914E-E740ACC077B1}"/>
              </a:ext>
            </a:extLst>
          </p:cNvPr>
          <p:cNvSpPr txBox="1"/>
          <p:nvPr/>
        </p:nvSpPr>
        <p:spPr>
          <a:xfrm>
            <a:off x="5046809" y="1067961"/>
            <a:ext cx="2250738" cy="1231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0" tIns="0" rIns="72000" bIns="0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 dirty="0">
                <a:ln>
                  <a:noFill/>
                </a:ln>
                <a:solidFill>
                  <a:srgbClr val="19716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rPr>
              <a:t>Data </a:t>
            </a:r>
            <a:r>
              <a:rPr lang="es-ES" sz="800" b="1" kern="1200" dirty="0">
                <a:solidFill>
                  <a:srgbClr val="19716F"/>
                </a:solidFill>
                <a:latin typeface="EYInterstate" panose="02000503020000020004" pitchFamily="2" charset="0"/>
                <a:ea typeface="+mn-ea"/>
              </a:rPr>
              <a:t>V</a:t>
            </a:r>
            <a:r>
              <a:rPr kumimoji="0" lang="es-E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19716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rPr>
              <a:t>isualization</a:t>
            </a:r>
            <a:r>
              <a:rPr kumimoji="0" lang="es-ES" sz="800" b="1" i="0" u="none" strike="noStrike" kern="1200" cap="none" spc="0" normalizeH="0" baseline="0" noProof="0" dirty="0">
                <a:ln>
                  <a:noFill/>
                </a:ln>
                <a:solidFill>
                  <a:srgbClr val="19716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rPr>
              <a:t> &amp; </a:t>
            </a:r>
            <a:r>
              <a:rPr lang="es-ES" sz="800" b="1" kern="1200" dirty="0">
                <a:solidFill>
                  <a:srgbClr val="19716F"/>
                </a:solidFill>
                <a:latin typeface="EYInterstate" panose="02000503020000020004" pitchFamily="2" charset="0"/>
                <a:ea typeface="+mn-ea"/>
              </a:rPr>
              <a:t>T</a:t>
            </a:r>
            <a:r>
              <a:rPr kumimoji="0" lang="es-E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19716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rPr>
              <a:t>ransformation</a:t>
            </a:r>
            <a:endParaRPr kumimoji="0" lang="es-ES" sz="800" b="1" i="0" u="none" strike="noStrike" kern="1200" cap="none" spc="0" normalizeH="0" baseline="0" noProof="0" dirty="0">
              <a:ln>
                <a:noFill/>
              </a:ln>
              <a:solidFill>
                <a:srgbClr val="19716F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/>
              <a:sym typeface="Arial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0DCB365-851B-4138-9EB4-97B8ACD00F18}"/>
              </a:ext>
            </a:extLst>
          </p:cNvPr>
          <p:cNvSpPr/>
          <p:nvPr/>
        </p:nvSpPr>
        <p:spPr>
          <a:xfrm>
            <a:off x="467794" y="2571750"/>
            <a:ext cx="2759086" cy="2028494"/>
          </a:xfrm>
          <a:prstGeom prst="rect">
            <a:avLst/>
          </a:prstGeom>
          <a:noFill/>
          <a:ln w="19050">
            <a:solidFill>
              <a:srgbClr val="1569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  <a:sym typeface="Arial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6C5D3F8C-9903-409B-A0AC-C8A68E6FFA92}"/>
              </a:ext>
            </a:extLst>
          </p:cNvPr>
          <p:cNvSpPr/>
          <p:nvPr/>
        </p:nvSpPr>
        <p:spPr>
          <a:xfrm>
            <a:off x="3315140" y="2571750"/>
            <a:ext cx="5361064" cy="2028494"/>
          </a:xfrm>
          <a:prstGeom prst="rect">
            <a:avLst/>
          </a:prstGeom>
          <a:noFill/>
          <a:ln w="19050">
            <a:solidFill>
              <a:srgbClr val="1050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  <a:sym typeface="Arial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5B0161B-4C20-4B65-BA39-1D545824BD11}"/>
              </a:ext>
            </a:extLst>
          </p:cNvPr>
          <p:cNvGrpSpPr/>
          <p:nvPr/>
        </p:nvGrpSpPr>
        <p:grpSpPr>
          <a:xfrm>
            <a:off x="3410988" y="2895635"/>
            <a:ext cx="5181762" cy="1299252"/>
            <a:chOff x="3735849" y="3307142"/>
            <a:chExt cx="4519043" cy="1133084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1C0B9A8-8343-4B0D-9E97-20B368FBC27C}"/>
                </a:ext>
              </a:extLst>
            </p:cNvPr>
            <p:cNvGrpSpPr/>
            <p:nvPr/>
          </p:nvGrpSpPr>
          <p:grpSpPr>
            <a:xfrm>
              <a:off x="3735849" y="3469284"/>
              <a:ext cx="4519043" cy="970942"/>
              <a:chOff x="3735849" y="3469284"/>
              <a:chExt cx="4519043" cy="970942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9EB9A2FE-8054-4F5B-88E5-D896F302A7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735849" y="3469284"/>
                <a:ext cx="4519043" cy="970942"/>
              </a:xfrm>
              <a:prstGeom prst="rect">
                <a:avLst/>
              </a:prstGeom>
            </p:spPr>
          </p:pic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5CAB1D85-3215-4E03-8F93-BE5B0783B2F3}"/>
                  </a:ext>
                </a:extLst>
              </p:cNvPr>
              <p:cNvSpPr/>
              <p:nvPr/>
            </p:nvSpPr>
            <p:spPr>
              <a:xfrm>
                <a:off x="6859765" y="3478052"/>
                <a:ext cx="476602" cy="215889"/>
              </a:xfrm>
              <a:prstGeom prst="rect">
                <a:avLst/>
              </a:prstGeom>
              <a:noFill/>
              <a:ln w="1905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s-E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4FF7D786-213D-4871-9FED-4F76D416FEC1}"/>
                  </a:ext>
                </a:extLst>
              </p:cNvPr>
              <p:cNvSpPr/>
              <p:nvPr/>
            </p:nvSpPr>
            <p:spPr>
              <a:xfrm>
                <a:off x="6859765" y="4196402"/>
                <a:ext cx="476602" cy="215889"/>
              </a:xfrm>
              <a:prstGeom prst="rect">
                <a:avLst/>
              </a:prstGeom>
              <a:noFill/>
              <a:ln w="1905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s-E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  <a:sym typeface="Arial"/>
                </a:endParaRP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3DA6169-B04E-4542-B072-6E8478B171A0}"/>
                </a:ext>
              </a:extLst>
            </p:cNvPr>
            <p:cNvSpPr txBox="1"/>
            <p:nvPr/>
          </p:nvSpPr>
          <p:spPr>
            <a:xfrm>
              <a:off x="6855782" y="3307142"/>
              <a:ext cx="539112" cy="1342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72000" bIns="0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s-E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/>
                  <a:sym typeface="Arial"/>
                </a:rPr>
                <a:t>LGBMR</a:t>
              </a:r>
            </a:p>
          </p:txBody>
        </p:sp>
      </p:grpSp>
      <p:pic>
        <p:nvPicPr>
          <p:cNvPr id="19" name="Graphic 18" descr="Presentation with bar chart with solid fill">
            <a:extLst>
              <a:ext uri="{FF2B5EF4-FFF2-40B4-BE49-F238E27FC236}">
                <a16:creationId xmlns:a16="http://schemas.microsoft.com/office/drawing/2014/main" id="{CD207F79-F959-4707-9C49-DFD4CB9B16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17931" y="987148"/>
            <a:ext cx="288000" cy="288000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2C76D650-AFD7-4972-A449-447CA00820A1}"/>
              </a:ext>
            </a:extLst>
          </p:cNvPr>
          <p:cNvGrpSpPr/>
          <p:nvPr/>
        </p:nvGrpSpPr>
        <p:grpSpPr>
          <a:xfrm>
            <a:off x="1258764" y="997884"/>
            <a:ext cx="1177146" cy="263452"/>
            <a:chOff x="1297736" y="997884"/>
            <a:chExt cx="1177146" cy="263452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7E41163-7CE2-4B7B-9566-06034116BC0A}"/>
                </a:ext>
              </a:extLst>
            </p:cNvPr>
            <p:cNvSpPr txBox="1"/>
            <p:nvPr/>
          </p:nvSpPr>
          <p:spPr>
            <a:xfrm>
              <a:off x="1309816" y="1061145"/>
              <a:ext cx="1165066" cy="12311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wrap="square" lIns="0" tIns="0" rIns="72000" bIns="0" rtlCol="0">
              <a:spAutoFit/>
            </a:bodyPr>
            <a:lstStyle/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s-ES" sz="800" b="1" kern="1200" dirty="0">
                  <a:solidFill>
                    <a:srgbClr val="26B8B5"/>
                  </a:solidFill>
                  <a:latin typeface="EYInterstate" panose="02000503020000020004" pitchFamily="2" charset="0"/>
                  <a:ea typeface="+mn-ea"/>
                </a:rPr>
                <a:t>Data </a:t>
              </a:r>
              <a:r>
                <a:rPr lang="es-ES" sz="800" b="1" kern="1200" dirty="0" err="1">
                  <a:solidFill>
                    <a:srgbClr val="26B8B5"/>
                  </a:solidFill>
                  <a:latin typeface="EYInterstate" panose="02000503020000020004" pitchFamily="2" charset="0"/>
                  <a:ea typeface="+mn-ea"/>
                </a:rPr>
                <a:t>Exploration</a:t>
              </a:r>
              <a:endParaRPr kumimoji="0" lang="es-ES" sz="800" b="1" i="0" u="none" strike="noStrike" kern="1200" cap="none" spc="0" normalizeH="0" baseline="0" noProof="0" dirty="0">
                <a:ln>
                  <a:noFill/>
                </a:ln>
                <a:solidFill>
                  <a:srgbClr val="26B8B5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endParaRPr>
            </a:p>
          </p:txBody>
        </p:sp>
        <p:pic>
          <p:nvPicPr>
            <p:cNvPr id="70" name="Graphic 69" descr="Research with solid fill">
              <a:extLst>
                <a:ext uri="{FF2B5EF4-FFF2-40B4-BE49-F238E27FC236}">
                  <a16:creationId xmlns:a16="http://schemas.microsoft.com/office/drawing/2014/main" id="{10D27B3B-7132-475D-A2FA-351B109894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flipH="1">
              <a:off x="1297736" y="997884"/>
              <a:ext cx="263452" cy="263452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4BBACC4-AFA3-4834-BFB8-158A365C3E8E}"/>
              </a:ext>
            </a:extLst>
          </p:cNvPr>
          <p:cNvGrpSpPr/>
          <p:nvPr/>
        </p:nvGrpSpPr>
        <p:grpSpPr>
          <a:xfrm>
            <a:off x="1235748" y="2435732"/>
            <a:ext cx="1223179" cy="309108"/>
            <a:chOff x="1258764" y="2435732"/>
            <a:chExt cx="1223179" cy="309108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B9DC5BA7-79F5-40CD-98EE-3C9D8B9C5616}"/>
                </a:ext>
              </a:extLst>
            </p:cNvPr>
            <p:cNvSpPr txBox="1"/>
            <p:nvPr/>
          </p:nvSpPr>
          <p:spPr>
            <a:xfrm>
              <a:off x="1258764" y="2517012"/>
              <a:ext cx="1223179" cy="12311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wrap="square" lIns="0" tIns="0" rIns="72000" bIns="0" rtlCol="0">
              <a:spAutoFit/>
            </a:bodyPr>
            <a:lstStyle/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s-ES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9716F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/>
                  <a:sym typeface="Arial"/>
                </a:rPr>
                <a:t>Correlation</a:t>
              </a:r>
              <a:r>
                <a:rPr kumimoji="0" lang="es-E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9716F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/>
                  <a:sym typeface="Arial"/>
                </a:rPr>
                <a:t> </a:t>
              </a:r>
              <a:r>
                <a:rPr kumimoji="0" lang="es-ES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9716F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/>
                  <a:sym typeface="Arial"/>
                </a:rPr>
                <a:t>Study</a:t>
              </a:r>
              <a:endParaRPr kumimoji="0" lang="es-ES" sz="800" b="1" i="0" u="none" strike="noStrike" kern="1200" cap="none" spc="0" normalizeH="0" baseline="0" noProof="0" dirty="0">
                <a:ln>
                  <a:noFill/>
                </a:ln>
                <a:solidFill>
                  <a:srgbClr val="19716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endParaRPr>
            </a:p>
          </p:txBody>
        </p:sp>
        <p:pic>
          <p:nvPicPr>
            <p:cNvPr id="27" name="Graphic 26" descr="Zipper with solid fill">
              <a:extLst>
                <a:ext uri="{FF2B5EF4-FFF2-40B4-BE49-F238E27FC236}">
                  <a16:creationId xmlns:a16="http://schemas.microsoft.com/office/drawing/2014/main" id="{8C188FD0-A2A0-48A7-97D3-246B65815A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258764" y="2435732"/>
              <a:ext cx="309108" cy="309108"/>
            </a:xfrm>
            <a:prstGeom prst="rect">
              <a:avLst/>
            </a:prstGeom>
          </p:spPr>
        </p:pic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F631CBF2-E796-44C6-AB66-0C9D205EFB47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37996" t="11121" r="17812" b="9910"/>
          <a:stretch/>
        </p:blipFill>
        <p:spPr>
          <a:xfrm>
            <a:off x="2712044" y="2870948"/>
            <a:ext cx="293032" cy="1323939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1697D8BF-8B2B-4D2E-A53C-7744ED5290A8}"/>
              </a:ext>
            </a:extLst>
          </p:cNvPr>
          <p:cNvSpPr/>
          <p:nvPr/>
        </p:nvSpPr>
        <p:spPr>
          <a:xfrm>
            <a:off x="575453" y="1405851"/>
            <a:ext cx="2592045" cy="813075"/>
          </a:xfrm>
          <a:prstGeom prst="rect">
            <a:avLst/>
          </a:prstGeom>
          <a:noFill/>
        </p:spPr>
        <p:txBody>
          <a:bodyPr wrap="square" lIns="0" tIns="23445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just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No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 se encontraron </a:t>
            </a:r>
            <a:r>
              <a:rPr kumimoji="0" lang="es-E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NA’s</a:t>
            </a:r>
            <a:endParaRPr lang="es-ES" sz="1000" b="1" dirty="0">
              <a:solidFill>
                <a:srgbClr val="2E2E38"/>
              </a:solidFill>
              <a:latin typeface="EYInterstate Light"/>
              <a:cs typeface="Arial"/>
            </a:endParaRPr>
          </a:p>
          <a:p>
            <a:pPr marL="171450" marR="0" lvl="0" indent="-171450" algn="just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Sólo había </a:t>
            </a:r>
            <a:r>
              <a:rPr lang="es-ES" sz="1000" b="1" dirty="0">
                <a:solidFill>
                  <a:srgbClr val="2E2E38"/>
                </a:solidFill>
                <a:latin typeface="EYInterstate Light"/>
                <a:cs typeface="Arial"/>
              </a:rPr>
              <a:t>un</a:t>
            </a:r>
            <a:r>
              <a:rPr kumimoji="0" lang="es-ES" sz="1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 </a:t>
            </a:r>
            <a:r>
              <a:rPr kumimoji="0" lang="es-E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outlier</a:t>
            </a:r>
            <a:r>
              <a:rPr kumimoji="0" lang="es-ES" sz="1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 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con 33 habitaciones</a:t>
            </a:r>
            <a:endParaRPr lang="es-ES" sz="1000" dirty="0">
              <a:solidFill>
                <a:srgbClr val="2E2E38"/>
              </a:solidFill>
              <a:latin typeface="EYInterstate Light"/>
              <a:cs typeface="Arial"/>
            </a:endParaRPr>
          </a:p>
          <a:p>
            <a:pPr marL="171450" marR="0" lvl="0" indent="-171450" algn="just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Se </a:t>
            </a:r>
            <a:r>
              <a:rPr kumimoji="0" lang="es-ES" sz="1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eliminan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 las columnas de </a:t>
            </a:r>
            <a:r>
              <a:rPr kumimoji="0" lang="es-ES" sz="1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ID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 y </a:t>
            </a:r>
            <a:r>
              <a:rPr kumimoji="0" lang="es-ES" sz="1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Date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923E35A-E59F-492C-BB78-8C39B6404295}"/>
              </a:ext>
            </a:extLst>
          </p:cNvPr>
          <p:cNvSpPr txBox="1"/>
          <p:nvPr/>
        </p:nvSpPr>
        <p:spPr>
          <a:xfrm>
            <a:off x="3456050" y="1291327"/>
            <a:ext cx="21391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1C828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rPr>
              <a:t>1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895E65B-A81F-4E6F-B17F-90282A6A5B5B}"/>
              </a:ext>
            </a:extLst>
          </p:cNvPr>
          <p:cNvSpPr txBox="1"/>
          <p:nvPr/>
        </p:nvSpPr>
        <p:spPr>
          <a:xfrm>
            <a:off x="5199848" y="1291327"/>
            <a:ext cx="21391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600" b="1" i="1" kern="1200" dirty="0">
                <a:solidFill>
                  <a:srgbClr val="1C8280"/>
                </a:solidFill>
                <a:latin typeface="EYInterstate" panose="02000503020000020004" pitchFamily="2" charset="0"/>
                <a:ea typeface="+mn-ea"/>
              </a:rPr>
              <a:t>2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1C82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/>
              <a:sym typeface="Arial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0381AA3-D2B4-4A4E-ACDD-5A3F83544150}"/>
              </a:ext>
            </a:extLst>
          </p:cNvPr>
          <p:cNvSpPr txBox="1"/>
          <p:nvPr/>
        </p:nvSpPr>
        <p:spPr>
          <a:xfrm>
            <a:off x="6982515" y="1287796"/>
            <a:ext cx="21391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600" b="1" i="1" kern="1200" dirty="0">
                <a:solidFill>
                  <a:srgbClr val="1C8280"/>
                </a:solidFill>
                <a:latin typeface="EYInterstate" panose="02000503020000020004" pitchFamily="2" charset="0"/>
                <a:ea typeface="+mn-ea"/>
              </a:rPr>
              <a:t>3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1C82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/>
              <a:sym typeface="Arial"/>
            </a:endParaRPr>
          </a:p>
        </p:txBody>
      </p:sp>
      <p:pic>
        <p:nvPicPr>
          <p:cNvPr id="34" name="Graphic 33" descr="Arrow: Slight curve with solid fill">
            <a:extLst>
              <a:ext uri="{FF2B5EF4-FFF2-40B4-BE49-F238E27FC236}">
                <a16:creationId xmlns:a16="http://schemas.microsoft.com/office/drawing/2014/main" id="{E0875D43-A398-45D4-A027-829D7F6CE15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flipV="1">
            <a:off x="4834767" y="1314383"/>
            <a:ext cx="288000" cy="219428"/>
          </a:xfrm>
          <a:prstGeom prst="rect">
            <a:avLst/>
          </a:prstGeom>
        </p:spPr>
      </p:pic>
      <p:pic>
        <p:nvPicPr>
          <p:cNvPr id="90" name="Graphic 89" descr="Arrow: Slight curve with solid fill">
            <a:extLst>
              <a:ext uri="{FF2B5EF4-FFF2-40B4-BE49-F238E27FC236}">
                <a16:creationId xmlns:a16="http://schemas.microsoft.com/office/drawing/2014/main" id="{ADFF1805-B8E3-45D4-AD1F-DF237EA8A29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flipV="1">
            <a:off x="6637558" y="1296201"/>
            <a:ext cx="288000" cy="246221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72FA94F3-3C71-4C6A-B981-EB4072C499BB}"/>
              </a:ext>
            </a:extLst>
          </p:cNvPr>
          <p:cNvGrpSpPr/>
          <p:nvPr/>
        </p:nvGrpSpPr>
        <p:grpSpPr>
          <a:xfrm>
            <a:off x="5168886" y="2436505"/>
            <a:ext cx="1653572" cy="270000"/>
            <a:chOff x="5117932" y="2456537"/>
            <a:chExt cx="1653572" cy="270000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815017D-11C4-418C-80D1-A0FAD82590C1}"/>
                </a:ext>
              </a:extLst>
            </p:cNvPr>
            <p:cNvSpPr txBox="1"/>
            <p:nvPr/>
          </p:nvSpPr>
          <p:spPr>
            <a:xfrm>
              <a:off x="5117932" y="2532516"/>
              <a:ext cx="1653572" cy="12311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wrap="square" lIns="0" tIns="0" rIns="72000" bIns="0" rtlCol="0">
              <a:spAutoFit/>
            </a:bodyPr>
            <a:lstStyle/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s-ES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0504E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/>
                  <a:sym typeface="Arial"/>
                </a:rPr>
                <a:t>Model</a:t>
              </a:r>
              <a:r>
                <a:rPr kumimoji="0" lang="es-E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0504E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/>
                  <a:sym typeface="Arial"/>
                </a:rPr>
                <a:t> </a:t>
              </a:r>
              <a:r>
                <a:rPr kumimoji="0" lang="es-ES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0504E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/>
                  <a:sym typeface="Arial"/>
                </a:rPr>
                <a:t>Creation</a:t>
              </a:r>
              <a:r>
                <a:rPr kumimoji="0" lang="es-E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10504E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/>
                  <a:sym typeface="Arial"/>
                </a:rPr>
                <a:t> &amp; </a:t>
              </a:r>
              <a:r>
                <a:rPr kumimoji="0" lang="es-ES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0504E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/>
                  <a:sym typeface="Arial"/>
                </a:rPr>
                <a:t>Results</a:t>
              </a:r>
              <a:endParaRPr kumimoji="0" lang="es-ES" sz="800" b="1" i="0" u="none" strike="noStrike" kern="1200" cap="none" spc="0" normalizeH="0" baseline="0" noProof="0" dirty="0">
                <a:ln>
                  <a:noFill/>
                </a:ln>
                <a:solidFill>
                  <a:srgbClr val="10504E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endParaRPr>
            </a:p>
          </p:txBody>
        </p:sp>
        <p:pic>
          <p:nvPicPr>
            <p:cNvPr id="36" name="Graphic 35" descr="Left Brain with solid fill">
              <a:extLst>
                <a:ext uri="{FF2B5EF4-FFF2-40B4-BE49-F238E27FC236}">
                  <a16:creationId xmlns:a16="http://schemas.microsoft.com/office/drawing/2014/main" id="{7FC4FA74-1AD4-4F02-8C43-D23EC0F5D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171805" y="2456537"/>
              <a:ext cx="270000" cy="27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5621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B58E41-F8CD-43A8-B9AD-2D3B6C4488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086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0B58E41-F8CD-43A8-B9AD-2D3B6C448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>
            <a:extLst>
              <a:ext uri="{FF2B5EF4-FFF2-40B4-BE49-F238E27FC236}">
                <a16:creationId xmlns:a16="http://schemas.microsoft.com/office/drawing/2014/main" id="{EB789AC4-5E90-40AB-8E30-254DDC11BF7F}"/>
              </a:ext>
            </a:extLst>
          </p:cNvPr>
          <p:cNvSpPr/>
          <p:nvPr/>
        </p:nvSpPr>
        <p:spPr>
          <a:xfrm>
            <a:off x="578122" y="2767692"/>
            <a:ext cx="2453698" cy="422286"/>
          </a:xfrm>
          <a:prstGeom prst="rect">
            <a:avLst/>
          </a:prstGeom>
          <a:solidFill>
            <a:schemeClr val="tx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  <a:sym typeface="Arial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8244C2EC-E128-4ACB-A08A-23DDB908081D}"/>
              </a:ext>
            </a:extLst>
          </p:cNvPr>
          <p:cNvCxnSpPr>
            <a:cxnSpLocks/>
          </p:cNvCxnSpPr>
          <p:nvPr/>
        </p:nvCxnSpPr>
        <p:spPr>
          <a:xfrm>
            <a:off x="669023" y="2879964"/>
            <a:ext cx="2273648" cy="0"/>
          </a:xfrm>
          <a:prstGeom prst="lin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D0786E63-66D7-4B5E-B3E3-8B14236C4793}"/>
              </a:ext>
            </a:extLst>
          </p:cNvPr>
          <p:cNvSpPr txBox="1"/>
          <p:nvPr/>
        </p:nvSpPr>
        <p:spPr>
          <a:xfrm>
            <a:off x="1503604" y="2825471"/>
            <a:ext cx="604487" cy="123111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s-ES" sz="800" b="1" kern="1200" dirty="0" err="1">
                <a:solidFill>
                  <a:schemeClr val="bg2"/>
                </a:solidFill>
                <a:latin typeface="EYInterstate" panose="02000503020000020004" pitchFamily="2" charset="0"/>
                <a:ea typeface="+mn-ea"/>
              </a:rPr>
              <a:t>Power</a:t>
            </a:r>
            <a:r>
              <a:rPr lang="es-ES" sz="800" b="1" kern="1200" dirty="0">
                <a:solidFill>
                  <a:schemeClr val="bg2"/>
                </a:solidFill>
                <a:latin typeface="EYInterstate" panose="02000503020000020004" pitchFamily="2" charset="0"/>
                <a:ea typeface="+mn-ea"/>
              </a:rPr>
              <a:t> BI</a:t>
            </a:r>
            <a:endParaRPr kumimoji="0" lang="es-ES" sz="8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/>
              <a:sym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D0BA52-AB86-425E-94AD-A48D7DEEE6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50467" y="1333673"/>
            <a:ext cx="4932966" cy="281945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20F8364-366C-4A07-846B-C2D46E3BD490}"/>
              </a:ext>
            </a:extLst>
          </p:cNvPr>
          <p:cNvCxnSpPr>
            <a:cxnSpLocks/>
          </p:cNvCxnSpPr>
          <p:nvPr/>
        </p:nvCxnSpPr>
        <p:spPr>
          <a:xfrm>
            <a:off x="3588367" y="1101764"/>
            <a:ext cx="5057166" cy="0"/>
          </a:xfrm>
          <a:prstGeom prst="line">
            <a:avLst/>
          </a:prstGeom>
          <a:noFill/>
          <a:ln w="19050">
            <a:solidFill>
              <a:srgbClr val="1569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0650"/>
            <a:ext cx="8244000" cy="442800"/>
          </a:xfrm>
        </p:spPr>
        <p:txBody>
          <a:bodyPr vert="horz" anchor="ctr"/>
          <a:lstStyle/>
          <a:p>
            <a:pPr algn="just" defTabSz="453296">
              <a:buClrTx/>
              <a:buFontTx/>
              <a:defRPr/>
            </a:pPr>
            <a:r>
              <a:rPr lang="es-ES" sz="2400" b="1" dirty="0" err="1">
                <a:solidFill>
                  <a:schemeClr val="bg2"/>
                </a:solidFill>
                <a:latin typeface="EYInterstate" panose="02000503020000020004" pitchFamily="2" charset="0"/>
              </a:rPr>
              <a:t>Power</a:t>
            </a:r>
            <a:r>
              <a:rPr lang="es-ES" sz="2400" b="1" dirty="0">
                <a:solidFill>
                  <a:schemeClr val="bg2"/>
                </a:solidFill>
                <a:latin typeface="EYInterstate" panose="02000503020000020004" pitchFamily="2" charset="0"/>
              </a:rPr>
              <a:t> BI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C68A46-D53F-4F97-9C58-D749FFE60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F1BC30E3-FFE5-4B91-AA19-87A149EBB9EE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  <a:sym typeface="Arial"/>
              </a:rPr>
              <a:pPr marL="0" marR="0" lvl="0" indent="0" algn="r" defTabSz="685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  <a:sym typeface="Arial"/>
            </a:endParaRPr>
          </a:p>
        </p:txBody>
      </p:sp>
      <p:sp>
        <p:nvSpPr>
          <p:cNvPr id="20" name="Rectangle 16">
            <a:extLst>
              <a:ext uri="{FF2B5EF4-FFF2-40B4-BE49-F238E27FC236}">
                <a16:creationId xmlns:a16="http://schemas.microsoft.com/office/drawing/2014/main" id="{2A8F22E4-E887-4A4D-8370-FBEF16D8C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65" cy="369332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altLang="es-ES" sz="600" b="0" i="0" u="none" strike="noStrike" kern="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endParaRPr kumimoji="0" lang="es-ES" alt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/>
              <a:sym typeface="Arial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2E65263F-204F-4F88-96EB-120212171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9715"/>
            <a:ext cx="65" cy="25776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9522" rIns="0" bIns="-952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/>
              <a:sym typeface="Arial"/>
            </a:endParaRPr>
          </a:p>
        </p:txBody>
      </p:sp>
      <p:sp>
        <p:nvSpPr>
          <p:cNvPr id="58" name="Date Placeholder 3">
            <a:extLst>
              <a:ext uri="{FF2B5EF4-FFF2-40B4-BE49-F238E27FC236}">
                <a16:creationId xmlns:a16="http://schemas.microsoft.com/office/drawing/2014/main" id="{1E4D2392-9ED4-439F-98A9-5ED47C9CAB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01346" y="4737006"/>
            <a:ext cx="1765139" cy="134929"/>
          </a:xfrm>
        </p:spPr>
        <p:txBody>
          <a:bodyPr/>
          <a:lstStyle/>
          <a:p>
            <a:pPr marL="0" marR="0" lvl="0" indent="0" algn="r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  <a:sym typeface="Arial"/>
              </a:rPr>
              <a:t>202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8757221-3B9A-49A2-91C3-180230DF74CB}"/>
              </a:ext>
            </a:extLst>
          </p:cNvPr>
          <p:cNvSpPr txBox="1"/>
          <p:nvPr/>
        </p:nvSpPr>
        <p:spPr>
          <a:xfrm>
            <a:off x="4175886" y="1017373"/>
            <a:ext cx="3882129" cy="154658"/>
          </a:xfrm>
          <a:prstGeom prst="rect">
            <a:avLst/>
          </a:prstGeom>
          <a:solidFill>
            <a:schemeClr val="tx1"/>
          </a:solidFill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900" b="1" dirty="0">
                <a:solidFill>
                  <a:srgbClr val="156967"/>
                </a:solidFill>
                <a:latin typeface="EYInterstate" panose="02000503020000020004" pitchFamily="2" charset="0"/>
              </a:rPr>
              <a:t>Representación final de los datos mediante un </a:t>
            </a:r>
            <a:r>
              <a:rPr lang="es-ES" sz="900" b="1" dirty="0" err="1">
                <a:solidFill>
                  <a:srgbClr val="156967"/>
                </a:solidFill>
                <a:latin typeface="EYInterstate" panose="02000503020000020004" pitchFamily="2" charset="0"/>
              </a:rPr>
              <a:t>Dashboard</a:t>
            </a:r>
            <a:r>
              <a:rPr lang="es-ES" sz="900" b="1" dirty="0">
                <a:solidFill>
                  <a:srgbClr val="156967"/>
                </a:solidFill>
                <a:latin typeface="EYInterstate" panose="02000503020000020004" pitchFamily="2" charset="0"/>
              </a:rPr>
              <a:t> interactivo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482B671-A36C-4A0A-B22B-AE9CB5F68D73}"/>
              </a:ext>
            </a:extLst>
          </p:cNvPr>
          <p:cNvSpPr/>
          <p:nvPr/>
        </p:nvSpPr>
        <p:spPr>
          <a:xfrm>
            <a:off x="467794" y="1122700"/>
            <a:ext cx="2759086" cy="3156268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  <a:sym typeface="Arial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85F5811-5FE4-47DE-A09D-02583CF7391F}"/>
              </a:ext>
            </a:extLst>
          </p:cNvPr>
          <p:cNvGrpSpPr/>
          <p:nvPr/>
        </p:nvGrpSpPr>
        <p:grpSpPr>
          <a:xfrm>
            <a:off x="831864" y="2949853"/>
            <a:ext cx="587416" cy="180000"/>
            <a:chOff x="831864" y="2949853"/>
            <a:chExt cx="587416" cy="180000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83C9A28-F13B-4A76-95EA-A5090FEE13B8}"/>
                </a:ext>
              </a:extLst>
            </p:cNvPr>
            <p:cNvSpPr txBox="1"/>
            <p:nvPr/>
          </p:nvSpPr>
          <p:spPr>
            <a:xfrm>
              <a:off x="1065864" y="2978298"/>
              <a:ext cx="353416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72000" bIns="0" rtlCol="0">
              <a:spAutoFit/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s-ES" sz="800" b="1" kern="1200" dirty="0">
                  <a:solidFill>
                    <a:schemeClr val="bg2">
                      <a:lumMod val="65000"/>
                      <a:lumOff val="35000"/>
                    </a:schemeClr>
                  </a:solidFill>
                  <a:latin typeface="EYInterstate" panose="02000503020000020004" pitchFamily="2" charset="0"/>
                  <a:ea typeface="+mn-ea"/>
                </a:rPr>
                <a:t>Data</a:t>
              </a:r>
              <a:endParaRPr kumimoji="0" lang="es-ES" sz="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65000"/>
                    <a:lumOff val="35000"/>
                  </a:schemeClr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endParaRPr>
            </a:p>
          </p:txBody>
        </p:sp>
        <p:pic>
          <p:nvPicPr>
            <p:cNvPr id="19" name="Graphic 18" descr="Database with solid fill">
              <a:extLst>
                <a:ext uri="{FF2B5EF4-FFF2-40B4-BE49-F238E27FC236}">
                  <a16:creationId xmlns:a16="http://schemas.microsoft.com/office/drawing/2014/main" id="{CFDD9D3B-7A62-4AAB-A241-97E9C854CD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31864" y="2949853"/>
              <a:ext cx="180000" cy="180000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923922C-7D03-47DB-9404-673A429CA66A}"/>
              </a:ext>
            </a:extLst>
          </p:cNvPr>
          <p:cNvGrpSpPr/>
          <p:nvPr/>
        </p:nvGrpSpPr>
        <p:grpSpPr>
          <a:xfrm>
            <a:off x="2217218" y="2949853"/>
            <a:ext cx="681394" cy="180000"/>
            <a:chOff x="2217218" y="2949853"/>
            <a:chExt cx="681394" cy="180000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BCF2C10-3D80-44F2-88E3-CDB32B19A53D}"/>
                </a:ext>
              </a:extLst>
            </p:cNvPr>
            <p:cNvSpPr txBox="1"/>
            <p:nvPr/>
          </p:nvSpPr>
          <p:spPr>
            <a:xfrm>
              <a:off x="2458077" y="2978300"/>
              <a:ext cx="440535" cy="123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s-ES" sz="800" b="1" kern="1200" dirty="0" err="1">
                  <a:solidFill>
                    <a:schemeClr val="bg2">
                      <a:lumMod val="65000"/>
                      <a:lumOff val="35000"/>
                    </a:schemeClr>
                  </a:solidFill>
                  <a:latin typeface="EYInterstate" panose="02000503020000020004" pitchFamily="2" charset="0"/>
                  <a:ea typeface="+mn-ea"/>
                </a:rPr>
                <a:t>Insights</a:t>
              </a:r>
              <a:endParaRPr kumimoji="0" lang="es-ES" sz="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65000"/>
                    <a:lumOff val="35000"/>
                  </a:schemeClr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endParaRPr>
            </a:p>
          </p:txBody>
        </p:sp>
        <p:pic>
          <p:nvPicPr>
            <p:cNvPr id="23" name="Graphic 22" descr="Brain in head with solid fill">
              <a:extLst>
                <a:ext uri="{FF2B5EF4-FFF2-40B4-BE49-F238E27FC236}">
                  <a16:creationId xmlns:a16="http://schemas.microsoft.com/office/drawing/2014/main" id="{B10049FD-73E8-4305-85B0-A9A3B9AA1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217218" y="2949853"/>
              <a:ext cx="180000" cy="180000"/>
            </a:xfrm>
            <a:prstGeom prst="rect">
              <a:avLst/>
            </a:prstGeom>
          </p:spPr>
        </p:pic>
      </p:grp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FA511607-97A5-4E4B-AEC7-12D18E4F490C}"/>
              </a:ext>
            </a:extLst>
          </p:cNvPr>
          <p:cNvSpPr/>
          <p:nvPr/>
        </p:nvSpPr>
        <p:spPr>
          <a:xfrm rot="5400000">
            <a:off x="2432933" y="2610594"/>
            <a:ext cx="1950175" cy="180480"/>
          </a:xfrm>
          <a:prstGeom prst="triangle">
            <a:avLst/>
          </a:prstGeom>
          <a:solidFill>
            <a:schemeClr val="bg2">
              <a:lumMod val="65000"/>
              <a:lumOff val="35000"/>
              <a:alpha val="69804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s-E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  <a:sym typeface="Arial"/>
            </a:endParaRPr>
          </a:p>
        </p:txBody>
      </p:sp>
      <p:pic>
        <p:nvPicPr>
          <p:cNvPr id="27" name="Graphic 26" descr="Arrow: Straight with solid fill">
            <a:extLst>
              <a:ext uri="{FF2B5EF4-FFF2-40B4-BE49-F238E27FC236}">
                <a16:creationId xmlns:a16="http://schemas.microsoft.com/office/drawing/2014/main" id="{6F8EA03B-1C99-41B4-AFCB-51314BBC70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0800000">
            <a:off x="1692576" y="2956114"/>
            <a:ext cx="224790" cy="224790"/>
          </a:xfrm>
          <a:prstGeom prst="rect">
            <a:avLst/>
          </a:prstGeom>
        </p:spPr>
      </p:pic>
      <p:graphicFrame>
        <p:nvGraphicFramePr>
          <p:cNvPr id="29" name="Object 28">
            <a:extLst>
              <a:ext uri="{FF2B5EF4-FFF2-40B4-BE49-F238E27FC236}">
                <a16:creationId xmlns:a16="http://schemas.microsoft.com/office/drawing/2014/main" id="{1EFC327C-98BA-46B3-8EA7-03944E7D730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62073026"/>
              </p:ext>
            </p:extLst>
          </p:nvPr>
        </p:nvGraphicFramePr>
        <p:xfrm>
          <a:off x="1053091" y="3675517"/>
          <a:ext cx="1593850" cy="481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2" imgW="1593360" imgH="481320" progId="Package">
                  <p:embed/>
                </p:oleObj>
              </mc:Choice>
              <mc:Fallback>
                <p:oleObj name="Packager Shell Object" showAsIcon="1" r:id="rId12" imgW="1593360" imgH="481320" progId="Package">
                  <p:embed/>
                  <p:pic>
                    <p:nvPicPr>
                      <p:cNvPr id="29" name="Object 28">
                        <a:extLst>
                          <a:ext uri="{FF2B5EF4-FFF2-40B4-BE49-F238E27FC236}">
                            <a16:creationId xmlns:a16="http://schemas.microsoft.com/office/drawing/2014/main" id="{1EFC327C-98BA-46B3-8EA7-03944E7D73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053091" y="3675517"/>
                        <a:ext cx="1593850" cy="48101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 descr="Icon&#10;&#10;Description automatically generated">
            <a:extLst>
              <a:ext uri="{FF2B5EF4-FFF2-40B4-BE49-F238E27FC236}">
                <a16:creationId xmlns:a16="http://schemas.microsoft.com/office/drawing/2014/main" id="{77BA666E-5766-42C1-AC92-1AFC254BF78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30522" y="3441182"/>
            <a:ext cx="529671" cy="529671"/>
          </a:xfrm>
          <a:prstGeom prst="rect">
            <a:avLst/>
          </a:prstGeom>
        </p:spPr>
      </p:pic>
      <p:sp>
        <p:nvSpPr>
          <p:cNvPr id="74" name="Rectangle 73">
            <a:extLst>
              <a:ext uri="{FF2B5EF4-FFF2-40B4-BE49-F238E27FC236}">
                <a16:creationId xmlns:a16="http://schemas.microsoft.com/office/drawing/2014/main" id="{003EA460-8D17-4F63-A114-9B7C84B770C3}"/>
              </a:ext>
            </a:extLst>
          </p:cNvPr>
          <p:cNvSpPr/>
          <p:nvPr/>
        </p:nvSpPr>
        <p:spPr>
          <a:xfrm>
            <a:off x="1096550" y="3361038"/>
            <a:ext cx="1511683" cy="792093"/>
          </a:xfrm>
          <a:prstGeom prst="rect">
            <a:avLst/>
          </a:prstGeom>
          <a:noFill/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  <a:sym typeface="Arial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00B955E-636A-444B-B7D1-DA98DF4A3398}"/>
              </a:ext>
            </a:extLst>
          </p:cNvPr>
          <p:cNvGrpSpPr/>
          <p:nvPr/>
        </p:nvGrpSpPr>
        <p:grpSpPr>
          <a:xfrm>
            <a:off x="1277251" y="1001803"/>
            <a:ext cx="1140172" cy="252000"/>
            <a:chOff x="1232325" y="1022989"/>
            <a:chExt cx="1140172" cy="252000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0ADF5F0-6F0E-4488-B71D-94B431AF9BFD}"/>
                </a:ext>
              </a:extLst>
            </p:cNvPr>
            <p:cNvSpPr txBox="1"/>
            <p:nvPr/>
          </p:nvSpPr>
          <p:spPr>
            <a:xfrm>
              <a:off x="1232325" y="1080348"/>
              <a:ext cx="1140172" cy="12311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wrap="square" lIns="0" tIns="0" rIns="72000" bIns="0" rtlCol="0">
              <a:spAutoFit/>
            </a:bodyPr>
            <a:lstStyle/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s-ES" sz="800" b="1" kern="1200" dirty="0">
                  <a:solidFill>
                    <a:schemeClr val="bg2">
                      <a:lumMod val="75000"/>
                      <a:lumOff val="25000"/>
                    </a:schemeClr>
                  </a:solidFill>
                  <a:latin typeface="EYInterstate" panose="02000503020000020004" pitchFamily="2" charset="0"/>
                  <a:ea typeface="+mn-ea"/>
                </a:rPr>
                <a:t>Data </a:t>
              </a:r>
              <a:r>
                <a:rPr lang="es-ES" sz="800" b="1" kern="1200" dirty="0" err="1">
                  <a:solidFill>
                    <a:schemeClr val="bg2">
                      <a:lumMod val="75000"/>
                      <a:lumOff val="25000"/>
                    </a:schemeClr>
                  </a:solidFill>
                  <a:latin typeface="EYInterstate" panose="02000503020000020004" pitchFamily="2" charset="0"/>
                  <a:ea typeface="+mn-ea"/>
                </a:rPr>
                <a:t>Reporting</a:t>
              </a:r>
              <a:endParaRPr kumimoji="0" lang="es-ES" sz="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  <a:lumOff val="25000"/>
                  </a:schemeClr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endParaRPr>
            </a:p>
          </p:txBody>
        </p:sp>
        <p:pic>
          <p:nvPicPr>
            <p:cNvPr id="35" name="Graphic 34" descr="Presentation with pie chart with solid fill">
              <a:extLst>
                <a:ext uri="{FF2B5EF4-FFF2-40B4-BE49-F238E27FC236}">
                  <a16:creationId xmlns:a16="http://schemas.microsoft.com/office/drawing/2014/main" id="{60121BCB-A673-49FF-B245-34835A6085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289749" y="1022989"/>
              <a:ext cx="252000" cy="252000"/>
            </a:xfrm>
            <a:prstGeom prst="rect">
              <a:avLst/>
            </a:prstGeom>
          </p:spPr>
        </p:pic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E3FB008F-FA0E-4397-A49F-92C2EB4F7BEB}"/>
              </a:ext>
            </a:extLst>
          </p:cNvPr>
          <p:cNvSpPr/>
          <p:nvPr/>
        </p:nvSpPr>
        <p:spPr>
          <a:xfrm>
            <a:off x="959640" y="1410797"/>
            <a:ext cx="2072177" cy="390831"/>
          </a:xfrm>
          <a:prstGeom prst="rect">
            <a:avLst/>
          </a:prstGeom>
          <a:noFill/>
        </p:spPr>
        <p:txBody>
          <a:bodyPr wrap="square" lIns="0" tIns="23445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lang="es-ES" sz="750" b="1" dirty="0">
                <a:solidFill>
                  <a:srgbClr val="2E2E38"/>
                </a:solidFill>
                <a:latin typeface="EYInterstate Light"/>
                <a:cs typeface="Arial"/>
              </a:rPr>
              <a:t>Mapeo de datos (mediante coordenadas y </a:t>
            </a:r>
            <a:r>
              <a:rPr lang="es-ES" sz="750" b="1" dirty="0" err="1">
                <a:solidFill>
                  <a:srgbClr val="2E2E38"/>
                </a:solidFill>
                <a:latin typeface="EYInterstate Light"/>
                <a:cs typeface="Arial"/>
              </a:rPr>
              <a:t>zipcode</a:t>
            </a:r>
            <a:r>
              <a:rPr lang="es-ES" sz="750" b="1" dirty="0">
                <a:solidFill>
                  <a:srgbClr val="2E2E38"/>
                </a:solidFill>
                <a:latin typeface="EYInterstate Light"/>
                <a:cs typeface="Arial"/>
              </a:rPr>
              <a:t>)</a:t>
            </a:r>
            <a:endParaRPr kumimoji="0" lang="es-ES" sz="75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Arial"/>
              <a:sym typeface="Arial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A63AD0E-69D0-4BEA-BE8B-7B8625DE0048}"/>
              </a:ext>
            </a:extLst>
          </p:cNvPr>
          <p:cNvSpPr/>
          <p:nvPr/>
        </p:nvSpPr>
        <p:spPr>
          <a:xfrm>
            <a:off x="959640" y="1795181"/>
            <a:ext cx="2072180" cy="398590"/>
          </a:xfrm>
          <a:prstGeom prst="rect">
            <a:avLst/>
          </a:prstGeom>
          <a:noFill/>
        </p:spPr>
        <p:txBody>
          <a:bodyPr wrap="square" lIns="0" tIns="23445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s-ES" sz="7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Segunda exploración de la información, pero de forma gráfica. Ha permitido la detección de </a:t>
            </a:r>
            <a:r>
              <a:rPr kumimoji="0" lang="es-ES" sz="7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outliers</a:t>
            </a:r>
            <a:r>
              <a:rPr kumimoji="0" lang="es-ES" sz="7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Arial"/>
                <a:sym typeface="Arial"/>
              </a:rPr>
              <a:t>.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36A0F8D0-DE3C-438A-9FEF-64F090E4C4F3}"/>
              </a:ext>
            </a:extLst>
          </p:cNvPr>
          <p:cNvSpPr/>
          <p:nvPr/>
        </p:nvSpPr>
        <p:spPr>
          <a:xfrm>
            <a:off x="959640" y="2238598"/>
            <a:ext cx="2072180" cy="394280"/>
          </a:xfrm>
          <a:prstGeom prst="rect">
            <a:avLst/>
          </a:prstGeom>
          <a:noFill/>
        </p:spPr>
        <p:txBody>
          <a:bodyPr wrap="square" lIns="0" tIns="23445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685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lang="es-ES" sz="750" b="1" dirty="0">
                <a:solidFill>
                  <a:srgbClr val="2E2E38"/>
                </a:solidFill>
                <a:latin typeface="EYInterstate Light"/>
                <a:cs typeface="Arial"/>
              </a:rPr>
              <a:t>Diseño de </a:t>
            </a:r>
            <a:r>
              <a:rPr lang="es-ES" sz="750" b="1" dirty="0" err="1">
                <a:solidFill>
                  <a:srgbClr val="2E2E38"/>
                </a:solidFill>
                <a:latin typeface="EYInterstate Light"/>
                <a:cs typeface="Arial"/>
              </a:rPr>
              <a:t>reports</a:t>
            </a:r>
            <a:r>
              <a:rPr lang="es-ES" sz="750" b="1" dirty="0">
                <a:solidFill>
                  <a:srgbClr val="2E2E38"/>
                </a:solidFill>
                <a:latin typeface="EYInterstate Light"/>
                <a:cs typeface="Arial"/>
              </a:rPr>
              <a:t> visuales mediante la correcta organización de la información y </a:t>
            </a:r>
            <a:r>
              <a:rPr lang="es-ES" sz="750" b="1" dirty="0" err="1">
                <a:solidFill>
                  <a:srgbClr val="2E2E38"/>
                </a:solidFill>
                <a:latin typeface="EYInterstate Light"/>
                <a:cs typeface="Arial"/>
              </a:rPr>
              <a:t>dashboards</a:t>
            </a:r>
            <a:r>
              <a:rPr lang="es-ES" sz="750" b="1" dirty="0">
                <a:solidFill>
                  <a:srgbClr val="2E2E38"/>
                </a:solidFill>
                <a:latin typeface="EYInterstate Light"/>
                <a:cs typeface="Arial"/>
              </a:rPr>
              <a:t> interactivos </a:t>
            </a:r>
            <a:endParaRPr kumimoji="0" lang="es-ES" sz="75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Arial"/>
              <a:sym typeface="Arial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C3323D5-1D86-49DE-9BA8-106610E01393}"/>
              </a:ext>
            </a:extLst>
          </p:cNvPr>
          <p:cNvSpPr txBox="1"/>
          <p:nvPr/>
        </p:nvSpPr>
        <p:spPr>
          <a:xfrm>
            <a:off x="632793" y="1375596"/>
            <a:ext cx="213914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1C828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  <a:sym typeface="Arial"/>
              </a:rPr>
              <a:t>1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44A4115-B614-4EE0-B56A-6E475F5147C1}"/>
              </a:ext>
            </a:extLst>
          </p:cNvPr>
          <p:cNvSpPr txBox="1"/>
          <p:nvPr/>
        </p:nvSpPr>
        <p:spPr>
          <a:xfrm>
            <a:off x="632793" y="1810646"/>
            <a:ext cx="213914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2400" b="1" i="1" kern="1200" dirty="0">
                <a:solidFill>
                  <a:srgbClr val="1C8280"/>
                </a:solidFill>
                <a:latin typeface="EYInterstate" panose="02000503020000020004" pitchFamily="2" charset="0"/>
                <a:ea typeface="+mn-ea"/>
              </a:rPr>
              <a:t>2</a:t>
            </a:r>
            <a:endParaRPr kumimoji="0" lang="en-US" sz="2400" b="1" i="1" u="none" strike="noStrike" kern="1200" cap="none" spc="0" normalizeH="0" baseline="0" noProof="0" dirty="0">
              <a:ln>
                <a:noFill/>
              </a:ln>
              <a:solidFill>
                <a:srgbClr val="1C82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/>
              <a:sym typeface="Arial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3415B63-4C60-419F-BC60-43C80985346D}"/>
              </a:ext>
            </a:extLst>
          </p:cNvPr>
          <p:cNvSpPr txBox="1"/>
          <p:nvPr/>
        </p:nvSpPr>
        <p:spPr>
          <a:xfrm>
            <a:off x="632793" y="2245697"/>
            <a:ext cx="213914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2400" b="1" i="1" kern="1200" dirty="0">
                <a:solidFill>
                  <a:srgbClr val="1C8280"/>
                </a:solidFill>
                <a:latin typeface="EYInterstate" panose="02000503020000020004" pitchFamily="2" charset="0"/>
                <a:ea typeface="+mn-ea"/>
              </a:rPr>
              <a:t>3</a:t>
            </a:r>
            <a:endParaRPr kumimoji="0" lang="en-US" sz="2400" b="1" i="1" u="none" strike="noStrike" kern="1200" cap="none" spc="0" normalizeH="0" baseline="0" noProof="0" dirty="0">
              <a:ln>
                <a:noFill/>
              </a:ln>
              <a:solidFill>
                <a:srgbClr val="1C82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38584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3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00000000000000000000E+00&quot;&gt;&lt;m_msothmcolidx val=&quot;0&quot;/&gt;&lt;m_rgb r=&quot;29&quot; g=&quot;C1&quot; b=&quot;BD&quot;/&gt;&lt;/elem&gt;&lt;elem m_fUsage=&quot;9.00000000000000022204E-01&quot;&gt;&lt;m_msothmcolidx val=&quot;0&quot;/&gt;&lt;m_rgb r=&quot;1C&quot; g=&quot;82&quot; b=&quot;80&quot;/&gt;&lt;/elem&gt;&lt;elem m_fUsage=&quot;8.10000000000000053291E-01&quot;&gt;&lt;m_msothmcolidx val=&quot;0&quot;/&gt;&lt;m_rgb r=&quot;16&quot; g=&quot;64&quot; b=&quot;62&quot;/&gt;&lt;/elem&gt;&lt;elem m_fUsage=&quot;7.29000000000000092371E-01&quot;&gt;&lt;m_msothmcolidx val=&quot;0&quot;/&gt;&lt;m_rgb r=&quot;13&quot; g=&quot;55&quot; b=&quot;53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4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5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2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3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5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00A323F7A0D849AC0B2F7A2868D330" ma:contentTypeVersion="2" ma:contentTypeDescription="Create a new document." ma:contentTypeScope="" ma:versionID="25c4943b059070f698249590b105f7c4">
  <xsd:schema xmlns:xsd="http://www.w3.org/2001/XMLSchema" xmlns:xs="http://www.w3.org/2001/XMLSchema" xmlns:p="http://schemas.microsoft.com/office/2006/metadata/properties" xmlns:ns2="41fd6cad-765c-4f87-b433-4930d353c82a" targetNamespace="http://schemas.microsoft.com/office/2006/metadata/properties" ma:root="true" ma:fieldsID="2024fa139c8030e0dcf2da2fc6f91f44" ns2:_="">
    <xsd:import namespace="41fd6cad-765c-4f87-b433-4930d353c82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fd6cad-765c-4f87-b433-4930d353c8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A8C3C39-1A88-4B0E-87EC-F5E315EA723C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41fd6cad-765c-4f87-b433-4930d353c82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B9AEB72-55AF-4BBA-8F8A-E74BF512A71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082111-8A05-4C86-B1A7-939D4E5CA6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fd6cad-765c-4f87-b433-4930d353c82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6519573</vt:lpwstr>
  </property>
  <property fmtid="{D5CDD505-2E9C-101B-9397-08002B2CF9AE}" pid="4" name="OptimizationTime">
    <vt:lpwstr>20221123_1754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otalTime>17719</TotalTime>
  <Words>131</Words>
  <Application>Microsoft Office PowerPoint</Application>
  <PresentationFormat>On-screen Show (16:9)</PresentationFormat>
  <Paragraphs>39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EYInterstate</vt:lpstr>
      <vt:lpstr>Georgia</vt:lpstr>
      <vt:lpstr>Calibri</vt:lpstr>
      <vt:lpstr>EYInterstate Light</vt:lpstr>
      <vt:lpstr>Arial</vt:lpstr>
      <vt:lpstr>EYInterstate Regular</vt:lpstr>
      <vt:lpstr>EY light background</vt:lpstr>
      <vt:lpstr>4_EY light background</vt:lpstr>
      <vt:lpstr>5_EY light background</vt:lpstr>
      <vt:lpstr>12_EY light background</vt:lpstr>
      <vt:lpstr>13_EY light background</vt:lpstr>
      <vt:lpstr>15_EY light background</vt:lpstr>
      <vt:lpstr>think-cell Slide</vt:lpstr>
      <vt:lpstr>Package</vt:lpstr>
      <vt:lpstr>Seattle Real Estate Regression Case Study</vt:lpstr>
      <vt:lpstr>SQL</vt:lpstr>
      <vt:lpstr>Python </vt:lpstr>
      <vt:lpstr>Power BI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a Rueda Aceñero</dc:creator>
  <cp:lastModifiedBy>Eugenio Hernandez Contreras</cp:lastModifiedBy>
  <cp:revision>393</cp:revision>
  <dcterms:modified xsi:type="dcterms:W3CDTF">2022-11-23T15:4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00A323F7A0D849AC0B2F7A2868D330</vt:lpwstr>
  </property>
</Properties>
</file>